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notesSlides/notesSlide17.xml" ContentType="application/vnd.openxmlformats-officedocument.presentationml.notesSlide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ppt/tags/tag39.xml" ContentType="application/vnd.openxmlformats-officedocument.presentationml.tags+xml"/>
  <Override PartName="/ppt/notesSlides/notesSlide19.xml" ContentType="application/vnd.openxmlformats-officedocument.presentationml.notesSlide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tags/tag41.xml" ContentType="application/vnd.openxmlformats-officedocument.presentationml.tags+xml"/>
  <Override PartName="/ppt/notesSlides/notesSlide21.xml" ContentType="application/vnd.openxmlformats-officedocument.presentationml.notesSlide+xml"/>
  <Override PartName="/ppt/tags/tag42.xml" ContentType="application/vnd.openxmlformats-officedocument.presentationml.tags+xml"/>
  <Override PartName="/ppt/notesSlides/notesSlide22.xml" ContentType="application/vnd.openxmlformats-officedocument.presentationml.notesSlide+xml"/>
  <Override PartName="/ppt/tags/tag43.xml" ContentType="application/vnd.openxmlformats-officedocument.presentationml.tags+xml"/>
  <Override PartName="/ppt/notesSlides/notesSlide23.xml" ContentType="application/vnd.openxmlformats-officedocument.presentationml.notesSlide+xml"/>
  <Override PartName="/ppt/tags/tag44.xml" ContentType="application/vnd.openxmlformats-officedocument.presentationml.tags+xml"/>
  <Override PartName="/ppt/notesSlides/notesSlide2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256" r:id="rId2"/>
    <p:sldId id="8593" r:id="rId3"/>
    <p:sldId id="9128" r:id="rId4"/>
    <p:sldId id="10475" r:id="rId5"/>
    <p:sldId id="10476" r:id="rId6"/>
    <p:sldId id="9909" r:id="rId7"/>
    <p:sldId id="10481" r:id="rId8"/>
    <p:sldId id="9010" r:id="rId9"/>
    <p:sldId id="10482" r:id="rId10"/>
    <p:sldId id="10477" r:id="rId11"/>
    <p:sldId id="10478" r:id="rId12"/>
    <p:sldId id="10479" r:id="rId13"/>
    <p:sldId id="9912" r:id="rId14"/>
    <p:sldId id="10480" r:id="rId15"/>
    <p:sldId id="10383" r:id="rId16"/>
    <p:sldId id="10485" r:id="rId17"/>
    <p:sldId id="10124" r:id="rId18"/>
    <p:sldId id="10461" r:id="rId19"/>
    <p:sldId id="10131" r:id="rId20"/>
    <p:sldId id="10118" r:id="rId21"/>
    <p:sldId id="10134" r:id="rId22"/>
    <p:sldId id="10130" r:id="rId23"/>
    <p:sldId id="8836" r:id="rId24"/>
    <p:sldId id="8838" r:id="rId25"/>
    <p:sldId id="8854" r:id="rId26"/>
    <p:sldId id="8857" r:id="rId27"/>
    <p:sldId id="8866" r:id="rId28"/>
    <p:sldId id="8867" r:id="rId29"/>
    <p:sldId id="10497" r:id="rId30"/>
    <p:sldId id="10498" r:id="rId31"/>
    <p:sldId id="10463" r:id="rId32"/>
    <p:sldId id="10464" r:id="rId33"/>
    <p:sldId id="10462" r:id="rId34"/>
    <p:sldId id="10465" r:id="rId35"/>
    <p:sldId id="10466" r:id="rId36"/>
    <p:sldId id="10467" r:id="rId37"/>
    <p:sldId id="10468" r:id="rId38"/>
    <p:sldId id="10469" r:id="rId39"/>
    <p:sldId id="10470" r:id="rId40"/>
    <p:sldId id="10499" r:id="rId41"/>
    <p:sldId id="10472" r:id="rId42"/>
    <p:sldId id="10471" r:id="rId43"/>
    <p:sldId id="10483" r:id="rId44"/>
    <p:sldId id="10484" r:id="rId45"/>
    <p:sldId id="10501" r:id="rId46"/>
    <p:sldId id="10502" r:id="rId47"/>
    <p:sldId id="10503" r:id="rId48"/>
    <p:sldId id="9103" r:id="rId49"/>
    <p:sldId id="8899" r:id="rId50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 panose="020F0502020204030204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D88"/>
    <a:srgbClr val="FFFFFF"/>
    <a:srgbClr val="9E9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93" autoAdjust="0"/>
    <p:restoredTop sz="94677"/>
  </p:normalViewPr>
  <p:slideViewPr>
    <p:cSldViewPr snapToGrid="0" snapToObjects="1">
      <p:cViewPr varScale="1">
        <p:scale>
          <a:sx n="86" d="100"/>
          <a:sy n="86" d="100"/>
        </p:scale>
        <p:origin x="66" y="21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image" Target="../media/image28.wmf"/><Relationship Id="rId1" Type="http://schemas.openxmlformats.org/officeDocument/2006/relationships/image" Target="../media/image27.wmf"/><Relationship Id="rId6" Type="http://schemas.openxmlformats.org/officeDocument/2006/relationships/image" Target="../media/image32.wmf"/><Relationship Id="rId5" Type="http://schemas.openxmlformats.org/officeDocument/2006/relationships/image" Target="../media/image31.wmf"/><Relationship Id="rId4" Type="http://schemas.openxmlformats.org/officeDocument/2006/relationships/image" Target="../media/image30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2/3/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9" name="Shape 119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 panose="020F0502020204030204"/>
      </a:defRPr>
    </a:lvl1pPr>
    <a:lvl2pPr indent="228600" latinLnBrk="0">
      <a:defRPr sz="1200">
        <a:latin typeface="+mn-lt"/>
        <a:ea typeface="+mn-ea"/>
        <a:cs typeface="+mn-cs"/>
        <a:sym typeface="Calibri" panose="020F0502020204030204"/>
      </a:defRPr>
    </a:lvl2pPr>
    <a:lvl3pPr indent="457200" latinLnBrk="0">
      <a:defRPr sz="1200">
        <a:latin typeface="+mn-lt"/>
        <a:ea typeface="+mn-ea"/>
        <a:cs typeface="+mn-cs"/>
        <a:sym typeface="Calibri" panose="020F0502020204030204"/>
      </a:defRPr>
    </a:lvl3pPr>
    <a:lvl4pPr indent="685800" latinLnBrk="0">
      <a:defRPr sz="1200">
        <a:latin typeface="+mn-lt"/>
        <a:ea typeface="+mn-ea"/>
        <a:cs typeface="+mn-cs"/>
        <a:sym typeface="Calibri" panose="020F0502020204030204"/>
      </a:defRPr>
    </a:lvl4pPr>
    <a:lvl5pPr indent="914400" latinLnBrk="0">
      <a:defRPr sz="1200">
        <a:latin typeface="+mn-lt"/>
        <a:ea typeface="+mn-ea"/>
        <a:cs typeface="+mn-cs"/>
        <a:sym typeface="Calibri" panose="020F0502020204030204"/>
      </a:defRPr>
    </a:lvl5pPr>
    <a:lvl6pPr indent="1143000" latinLnBrk="0">
      <a:defRPr sz="1200">
        <a:latin typeface="+mn-lt"/>
        <a:ea typeface="+mn-ea"/>
        <a:cs typeface="+mn-cs"/>
        <a:sym typeface="Calibri" panose="020F0502020204030204"/>
      </a:defRPr>
    </a:lvl6pPr>
    <a:lvl7pPr indent="1371600" latinLnBrk="0">
      <a:defRPr sz="1200">
        <a:latin typeface="+mn-lt"/>
        <a:ea typeface="+mn-ea"/>
        <a:cs typeface="+mn-cs"/>
        <a:sym typeface="Calibri" panose="020F0502020204030204"/>
      </a:defRPr>
    </a:lvl7pPr>
    <a:lvl8pPr indent="1600200" latinLnBrk="0">
      <a:defRPr sz="1200">
        <a:latin typeface="+mn-lt"/>
        <a:ea typeface="+mn-ea"/>
        <a:cs typeface="+mn-cs"/>
        <a:sym typeface="Calibri" panose="020F0502020204030204"/>
      </a:defRPr>
    </a:lvl8pPr>
    <a:lvl9pPr indent="1828800" latinLnBrk="0">
      <a:defRPr sz="1200">
        <a:latin typeface="+mn-lt"/>
        <a:ea typeface="+mn-ea"/>
        <a:cs typeface="+mn-cs"/>
        <a:sym typeface="Calibri" panose="020F050202020403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894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90603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57396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1856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86802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33881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73467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11084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0670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77271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714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1590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1762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63791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5005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41808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97567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文本"/>
          <p:cNvSpPr txBox="1">
            <a:spLocks noGrp="1"/>
          </p:cNvSpPr>
          <p:nvPr>
            <p:ph type="title"/>
          </p:nvPr>
        </p:nvSpPr>
        <p:spPr>
          <a:xfrm>
            <a:off x="1524000" y="1122362"/>
            <a:ext cx="9144000" cy="2387601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dirty="0"/>
          </a:p>
        </p:txBody>
      </p:sp>
      <p:sp>
        <p:nvSpPr>
          <p:cNvPr id="12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2400"/>
            </a:lvl1pPr>
            <a:lvl2pPr marL="0" indent="457200" algn="ctr">
              <a:buSzTx/>
              <a:buFontTx/>
              <a:buNone/>
              <a:defRPr sz="2400"/>
            </a:lvl2pPr>
            <a:lvl3pPr marL="0" indent="914400" algn="ctr">
              <a:buSzTx/>
              <a:buFontTx/>
              <a:buNone/>
              <a:defRPr sz="2400"/>
            </a:lvl3pPr>
            <a:lvl4pPr marL="0" indent="1371600" algn="ctr">
              <a:buSzTx/>
              <a:buFontTx/>
              <a:buNone/>
              <a:defRPr sz="2400"/>
            </a:lvl4pPr>
            <a:lvl5pPr marL="0" indent="1828800" algn="ctr">
              <a:buSzTx/>
              <a:buFontTx/>
              <a:buNone/>
              <a:defRPr sz="2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3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标题文本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92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93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457200">
              <a:buSzTx/>
              <a:buFontTx/>
              <a:buNone/>
              <a:defRPr sz="1600"/>
            </a:lvl2pPr>
            <a:lvl3pPr marL="0" indent="914400">
              <a:buSzTx/>
              <a:buFontTx/>
              <a:buNone/>
              <a:defRPr sz="1600"/>
            </a:lvl3pPr>
            <a:lvl4pPr marL="0" indent="1371600">
              <a:buSzTx/>
              <a:buFontTx/>
              <a:buNone/>
              <a:defRPr sz="1600"/>
            </a:lvl4pPr>
            <a:lvl5pPr marL="0" indent="1828800">
              <a:buSzTx/>
              <a:buFontTx/>
              <a:buNone/>
              <a:defRPr sz="16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9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102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03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标题文本"/>
          <p:cNvSpPr txBox="1">
            <a:spLocks noGrp="1"/>
          </p:cNvSpPr>
          <p:nvPr>
            <p:ph type="title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111" name="正文级别 1…"/>
          <p:cNvSpPr txBox="1">
            <a:spLocks noGrp="1"/>
          </p:cNvSpPr>
          <p:nvPr>
            <p:ph type="body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1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页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493530" y="292590"/>
            <a:ext cx="660901" cy="632007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kumimoji="1" lang="zh-CN" altLang="en-US" sz="1335" b="1" dirty="0">
              <a:solidFill>
                <a:srgbClr val="1F1F1F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1438216" y="234879"/>
            <a:ext cx="3787775" cy="7474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dirty="0"/>
              <a:t>MORE THAN TEMPLATE</a:t>
            </a:r>
          </a:p>
          <a:p>
            <a:pPr lvl="0"/>
            <a:r>
              <a:rPr lang="zh-CN" altLang="en-US" dirty="0"/>
              <a:t>点击此处添加副标题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445405" y="273634"/>
            <a:ext cx="798930" cy="68371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 userDrawn="1"/>
        </p:nvGrpSpPr>
        <p:grpSpPr>
          <a:xfrm flipH="1">
            <a:off x="177800" y="191058"/>
            <a:ext cx="11186886" cy="6536313"/>
            <a:chOff x="827314" y="191058"/>
            <a:chExt cx="11186886" cy="6536313"/>
          </a:xfrm>
        </p:grpSpPr>
        <p:grpSp>
          <p:nvGrpSpPr>
            <p:cNvPr id="45" name="组合 44"/>
            <p:cNvGrpSpPr/>
            <p:nvPr userDrawn="1"/>
          </p:nvGrpSpPr>
          <p:grpSpPr>
            <a:xfrm>
              <a:off x="10033000" y="191058"/>
              <a:ext cx="1948996" cy="2691284"/>
              <a:chOff x="8470446" y="2515552"/>
              <a:chExt cx="476250" cy="657633"/>
            </a:xfrm>
          </p:grpSpPr>
          <p:pic>
            <p:nvPicPr>
              <p:cNvPr id="46" name="图形 45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47" name="图形 46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48" name="组合 47"/>
            <p:cNvGrpSpPr/>
            <p:nvPr userDrawn="1"/>
          </p:nvGrpSpPr>
          <p:grpSpPr>
            <a:xfrm>
              <a:off x="8077200" y="399384"/>
              <a:ext cx="1549400" cy="2139499"/>
              <a:chOff x="8470446" y="2515552"/>
              <a:chExt cx="476250" cy="657633"/>
            </a:xfrm>
          </p:grpSpPr>
          <p:pic>
            <p:nvPicPr>
              <p:cNvPr id="49" name="图形 48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50" name="图形 49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51" name="组合 50"/>
            <p:cNvGrpSpPr/>
            <p:nvPr userDrawn="1"/>
          </p:nvGrpSpPr>
          <p:grpSpPr>
            <a:xfrm>
              <a:off x="9258300" y="1443291"/>
              <a:ext cx="800100" cy="1104823"/>
              <a:chOff x="8470446" y="2515552"/>
              <a:chExt cx="476250" cy="657633"/>
            </a:xfrm>
          </p:grpSpPr>
          <p:pic>
            <p:nvPicPr>
              <p:cNvPr id="52" name="图形 51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53" name="图形 52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54" name="组合 53"/>
            <p:cNvGrpSpPr/>
            <p:nvPr userDrawn="1"/>
          </p:nvGrpSpPr>
          <p:grpSpPr>
            <a:xfrm>
              <a:off x="2362200" y="3839465"/>
              <a:ext cx="1948996" cy="2691284"/>
              <a:chOff x="8470446" y="2515552"/>
              <a:chExt cx="476250" cy="657633"/>
            </a:xfrm>
          </p:grpSpPr>
          <p:pic>
            <p:nvPicPr>
              <p:cNvPr id="55" name="图形 54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56" name="图形 55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57" name="组合 56"/>
            <p:cNvGrpSpPr/>
            <p:nvPr userDrawn="1"/>
          </p:nvGrpSpPr>
          <p:grpSpPr>
            <a:xfrm>
              <a:off x="827314" y="4587872"/>
              <a:ext cx="1549400" cy="2139499"/>
              <a:chOff x="8470446" y="2515552"/>
              <a:chExt cx="476250" cy="657633"/>
            </a:xfrm>
          </p:grpSpPr>
          <p:pic>
            <p:nvPicPr>
              <p:cNvPr id="58" name="图形 57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59" name="图形 58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60" name="组合 59"/>
            <p:cNvGrpSpPr/>
            <p:nvPr userDrawn="1"/>
          </p:nvGrpSpPr>
          <p:grpSpPr>
            <a:xfrm>
              <a:off x="3619500" y="5172205"/>
              <a:ext cx="800100" cy="1104823"/>
              <a:chOff x="8470446" y="2515552"/>
              <a:chExt cx="476250" cy="657633"/>
            </a:xfrm>
          </p:grpSpPr>
          <p:pic>
            <p:nvPicPr>
              <p:cNvPr id="61" name="图形 60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62" name="图形 61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63" name="组合 62"/>
            <p:cNvGrpSpPr/>
            <p:nvPr userDrawn="1"/>
          </p:nvGrpSpPr>
          <p:grpSpPr>
            <a:xfrm>
              <a:off x="8804275" y="2803630"/>
              <a:ext cx="1948996" cy="2691284"/>
              <a:chOff x="8470446" y="2515552"/>
              <a:chExt cx="476250" cy="657633"/>
            </a:xfrm>
          </p:grpSpPr>
          <p:pic>
            <p:nvPicPr>
              <p:cNvPr id="64" name="图形 63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65" name="图形 64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66" name="组合 65"/>
            <p:cNvGrpSpPr/>
            <p:nvPr userDrawn="1"/>
          </p:nvGrpSpPr>
          <p:grpSpPr>
            <a:xfrm>
              <a:off x="9410700" y="2805268"/>
              <a:ext cx="2413000" cy="3332007"/>
              <a:chOff x="8470446" y="2515552"/>
              <a:chExt cx="476250" cy="657633"/>
            </a:xfrm>
          </p:grpSpPr>
          <p:pic>
            <p:nvPicPr>
              <p:cNvPr id="67" name="图形 66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68" name="图形 67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69" name="组合 68"/>
            <p:cNvGrpSpPr/>
            <p:nvPr userDrawn="1"/>
          </p:nvGrpSpPr>
          <p:grpSpPr>
            <a:xfrm>
              <a:off x="8661400" y="3894391"/>
              <a:ext cx="1854200" cy="2560384"/>
              <a:chOff x="8470446" y="2515552"/>
              <a:chExt cx="476250" cy="657633"/>
            </a:xfrm>
          </p:grpSpPr>
          <p:pic>
            <p:nvPicPr>
              <p:cNvPr id="70" name="图形 69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71" name="图形 70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72" name="组合 71"/>
            <p:cNvGrpSpPr/>
            <p:nvPr userDrawn="1"/>
          </p:nvGrpSpPr>
          <p:grpSpPr>
            <a:xfrm>
              <a:off x="10472738" y="4391326"/>
              <a:ext cx="1541462" cy="2128537"/>
              <a:chOff x="8470446" y="2515552"/>
              <a:chExt cx="476250" cy="657633"/>
            </a:xfrm>
          </p:grpSpPr>
          <p:pic>
            <p:nvPicPr>
              <p:cNvPr id="73" name="图形 72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74" name="图形 73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75" name="组合 74"/>
            <p:cNvGrpSpPr/>
            <p:nvPr userDrawn="1"/>
          </p:nvGrpSpPr>
          <p:grpSpPr>
            <a:xfrm>
              <a:off x="4869081" y="4618776"/>
              <a:ext cx="617320" cy="852430"/>
              <a:chOff x="8470446" y="2515552"/>
              <a:chExt cx="476250" cy="657633"/>
            </a:xfrm>
          </p:grpSpPr>
          <p:pic>
            <p:nvPicPr>
              <p:cNvPr id="76" name="图形 75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77" name="图形 76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  <p:grpSp>
          <p:nvGrpSpPr>
            <p:cNvPr id="78" name="组合 77"/>
            <p:cNvGrpSpPr/>
            <p:nvPr userDrawn="1"/>
          </p:nvGrpSpPr>
          <p:grpSpPr>
            <a:xfrm>
              <a:off x="5983305" y="5191967"/>
              <a:ext cx="1085152" cy="1498439"/>
              <a:chOff x="8470446" y="2515552"/>
              <a:chExt cx="476250" cy="657633"/>
            </a:xfrm>
          </p:grpSpPr>
          <p:pic>
            <p:nvPicPr>
              <p:cNvPr id="79" name="图形 78"/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470446" y="2639785"/>
                <a:ext cx="476250" cy="533400"/>
              </a:xfrm>
              <a:prstGeom prst="rect">
                <a:avLst/>
              </a:prstGeom>
            </p:spPr>
          </p:pic>
          <p:pic>
            <p:nvPicPr>
              <p:cNvPr id="80" name="图形 79"/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556307" y="2515552"/>
                <a:ext cx="352425" cy="409575"/>
              </a:xfrm>
              <a:prstGeom prst="rect">
                <a:avLst/>
              </a:prstGeom>
            </p:spPr>
          </p:pic>
        </p:grp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528456" y="1377043"/>
            <a:ext cx="4710793" cy="1801221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4" name="文本占位符 62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528457" y="3828247"/>
            <a:ext cx="471079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6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528457" y="4143881"/>
            <a:ext cx="471079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6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42" name="图片 41">
            <a:extLst>
              <a:ext uri="{FF2B5EF4-FFF2-40B4-BE49-F238E27FC236}">
                <a16:creationId xmlns:a16="http://schemas.microsoft.com/office/drawing/2014/main" id="{A95C83DA-E3C1-4E08-BB1B-0855A99F6E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952" y="220395"/>
            <a:ext cx="2540131" cy="81284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rotWithShape="1">
          <a:blip r:embed="rId2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71200" y="6324600"/>
            <a:ext cx="414020" cy="368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 eaLnBrk="1" hangingPunct="1"/>
            <a:fld id="{9A0DB2DC-4C9A-4742-B13C-FB6460FD3503}" type="slidenum">
              <a:rPr lang="en-US" altLang="zh-CN" dirty="0">
                <a:latin typeface="Calibri" panose="020F0502020204030204" charset="0"/>
                <a:ea typeface="宋体" panose="02010600030101010101" pitchFamily="2" charset="-122"/>
              </a:rPr>
              <a:t>‹#›</a:t>
            </a:fld>
            <a:endParaRPr lang="en-US" altLang="zh-CN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92EB006-BC19-4DC0-AF1D-961AFD9F682B}" type="datetimeFigureOut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charset="0"/>
                <a:ea typeface="+mn-ea"/>
                <a:cs typeface="Arial" panose="020B0604020202020204" pitchFamily="34" charset="0"/>
              </a:rPr>
              <a:t>3/3/2022</a:t>
            </a:fld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zh-CN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eaLnBrk="1" hangingPunct="1"/>
            <a:fld id="{9A0DB2DC-4C9A-4742-B13C-FB6460FD3503}" type="slidenum">
              <a:rPr lang="en-US" altLang="zh-CN" dirty="0">
                <a:effectLst>
                  <a:outerShdw blurRad="38100" dist="38100" dir="2700000">
                    <a:srgbClr val="FFFFFF"/>
                  </a:outerShdw>
                </a:effectLst>
              </a:rPr>
              <a:t>‹#›</a:t>
            </a:fld>
            <a:endParaRPr lang="en-US" altLang="zh-CN" dirty="0">
              <a:effectLst>
                <a:outerShdw blurRad="38100" dist="38100" dir="2700000">
                  <a:srgbClr val="FFFFFF"/>
                </a:outerShdw>
              </a:effectLst>
            </a:endParaRP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_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493530" y="292590"/>
            <a:ext cx="660901" cy="632007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kumimoji="1" lang="zh-CN" altLang="en-US" sz="1335" b="1" dirty="0">
              <a:solidFill>
                <a:srgbClr val="1F1F1F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4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1438216" y="234879"/>
            <a:ext cx="3787775" cy="7474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dirty="0"/>
              <a:t>MORE THAN TEMPLATE</a:t>
            </a:r>
          </a:p>
          <a:p>
            <a:pPr lvl="0"/>
            <a:r>
              <a:rPr lang="zh-CN" altLang="en-US" dirty="0"/>
              <a:t>点击此处添加副标题</a:t>
            </a:r>
          </a:p>
        </p:txBody>
      </p:sp>
      <p:sp>
        <p:nvSpPr>
          <p:cNvPr id="5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445405" y="273634"/>
            <a:ext cx="798930" cy="68371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1"/>
          <p:cNvSpPr>
            <a:spLocks noGrp="1"/>
          </p:cNvSpPr>
          <p:nvPr>
            <p:ph type="title"/>
          </p:nvPr>
        </p:nvSpPr>
        <p:spPr bwMode="auto">
          <a:xfrm>
            <a:off x="609600" y="152400"/>
            <a:ext cx="109728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zh-CN" altLang="en-US"/>
              <a:t>单击此处编辑母版标题样式</a:t>
            </a:r>
            <a:endParaRPr lang="en-US" altLang="zh-CN"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文本"/>
          <p:cNvSpPr txBox="1">
            <a:spLocks noGrp="1"/>
          </p:cNvSpPr>
          <p:nvPr>
            <p:ph type="title"/>
          </p:nvPr>
        </p:nvSpPr>
        <p:spPr>
          <a:xfrm>
            <a:off x="352425" y="365125"/>
            <a:ext cx="10176510" cy="647065"/>
          </a:xfrm>
          <a:prstGeom prst="rect">
            <a:avLst/>
          </a:prstGeom>
        </p:spPr>
        <p:txBody>
          <a:bodyPr/>
          <a:lstStyle>
            <a:lvl1pPr>
              <a:defRPr sz="3800">
                <a:solidFill>
                  <a:srgbClr val="C00000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dirty="0"/>
          </a:p>
        </p:txBody>
      </p:sp>
      <p:sp>
        <p:nvSpPr>
          <p:cNvPr id="21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2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cxnSp>
        <p:nvCxnSpPr>
          <p:cNvPr id="5" name="直接连接符 4"/>
          <p:cNvCxnSpPr/>
          <p:nvPr userDrawn="1"/>
        </p:nvCxnSpPr>
        <p:spPr>
          <a:xfrm>
            <a:off x="379562" y="1071912"/>
            <a:ext cx="1156064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0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3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文本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9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0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8" name="正文级别 1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标题文本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7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457200">
              <a:buSzTx/>
              <a:buFontTx/>
              <a:buNone/>
              <a:defRPr sz="2400" b="1"/>
            </a:lvl2pPr>
            <a:lvl3pPr marL="0" indent="914400">
              <a:buSzTx/>
              <a:buFontTx/>
              <a:buNone/>
              <a:defRPr sz="2400" b="1"/>
            </a:lvl3pPr>
            <a:lvl4pPr marL="0" indent="1371600">
              <a:buSzTx/>
              <a:buFontTx/>
              <a:buNone/>
              <a:defRPr sz="2400" b="1"/>
            </a:lvl4pPr>
            <a:lvl5pPr marL="0" indent="1828800">
              <a:buSzTx/>
              <a:buFontTx/>
              <a:buNone/>
              <a:defRPr sz="2400" b="1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anchor="b"/>
          <a:lstStyle/>
          <a:p>
            <a:pPr marL="0" lvl="0" indent="0">
              <a:buSzTx/>
              <a:buFontTx/>
              <a:buNone/>
              <a:defRPr sz="2400" b="1"/>
            </a:pPr>
            <a:r>
              <a:rPr lang="zh-CN" altLang="en-US"/>
              <a:t>单击此处编辑母版文本样式</a:t>
            </a:r>
          </a:p>
        </p:txBody>
      </p:sp>
      <p:sp>
        <p:nvSpPr>
          <p:cNvPr id="5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67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标题文本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82" name="正文级别 1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185" indent="-260985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9787" y="2057400"/>
            <a:ext cx="3932238" cy="3811588"/>
          </a:xfrm>
          <a:prstGeom prst="rect">
            <a:avLst/>
          </a:prstGeom>
        </p:spPr>
        <p:txBody>
          <a:bodyPr/>
          <a:lstStyle/>
          <a:p>
            <a:pPr marL="0" lvl="0" indent="0">
              <a:buSzTx/>
              <a:buFontTx/>
              <a:buNone/>
              <a:defRPr sz="1600"/>
            </a:pPr>
            <a:r>
              <a:rPr lang="zh-CN" altLang="en-US"/>
              <a:t>单击此处编辑母版文本样式</a:t>
            </a:r>
          </a:p>
        </p:txBody>
      </p:sp>
      <p:sp>
        <p:nvSpPr>
          <p:cNvPr id="8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文本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正文级别 1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089818" y="6404292"/>
            <a:ext cx="263983" cy="26924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BC68052-0FB8-4512-8F0B-1564882F60B9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952" y="220395"/>
            <a:ext cx="2540131" cy="81284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ransition spd="med"/>
  <p:txStyles>
    <p:titleStyle>
      <a:lvl1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4400" b="0" i="0" u="none" strike="noStrike" cap="none" spc="0" baseline="0">
          <a:solidFill>
            <a:srgbClr val="000000"/>
          </a:solidFill>
          <a:uFillTx/>
          <a:latin typeface="Calibri Light" panose="020F0302020204030204"/>
          <a:ea typeface="Calibri Light" panose="020F0302020204030204"/>
          <a:cs typeface="Calibri Light" panose="020F0302020204030204"/>
          <a:sym typeface="Calibri Light" panose="020F0302020204030204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2pPr>
      <a:lvl3pPr marL="1234440" marR="0" indent="-32004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 panose="020B0604020202020204"/>
        <a:buChar char="•"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 panose="020F0502020204030204"/>
        </a:defRPr>
      </a:lvl9pPr>
    </p:bodyStyle>
    <p:otherStyle>
      <a:lvl1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1pPr>
      <a:lvl2pPr marL="0" marR="0" indent="4572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2pPr>
      <a:lvl3pPr marL="0" marR="0" indent="9144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3pPr>
      <a:lvl4pPr marL="0" marR="0" indent="13716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4pPr>
      <a:lvl5pPr marL="0" marR="0" indent="18288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5pPr>
      <a:lvl6pPr marL="0" marR="0" indent="22860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6pPr>
      <a:lvl7pPr marL="0" marR="0" indent="27432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7pPr>
      <a:lvl8pPr marL="0" marR="0" indent="32004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8pPr>
      <a:lvl9pPr marL="0" marR="0" indent="36576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 panose="020F050202020403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6.tiff"/><Relationship Id="rId7" Type="http://schemas.openxmlformats.org/officeDocument/2006/relationships/image" Target="../media/image10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tiff"/><Relationship Id="rId4" Type="http://schemas.openxmlformats.org/officeDocument/2006/relationships/image" Target="../media/image7.tif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3.xml"/><Relationship Id="rId7" Type="http://schemas.openxmlformats.org/officeDocument/2006/relationships/image" Target="../media/image2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5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30.w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png"/><Relationship Id="rId12" Type="http://schemas.openxmlformats.org/officeDocument/2006/relationships/oleObject" Target="../embeddings/oleObject11.bin"/><Relationship Id="rId17" Type="http://schemas.openxmlformats.org/officeDocument/2006/relationships/image" Target="../media/image32.wmf"/><Relationship Id="rId2" Type="http://schemas.openxmlformats.org/officeDocument/2006/relationships/tags" Target="../tags/tag25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8.vml"/><Relationship Id="rId6" Type="http://schemas.openxmlformats.org/officeDocument/2006/relationships/image" Target="../media/image27.wmf"/><Relationship Id="rId11" Type="http://schemas.openxmlformats.org/officeDocument/2006/relationships/image" Target="../media/image29.wmf"/><Relationship Id="rId5" Type="http://schemas.openxmlformats.org/officeDocument/2006/relationships/oleObject" Target="../embeddings/oleObject8.bin"/><Relationship Id="rId15" Type="http://schemas.openxmlformats.org/officeDocument/2006/relationships/image" Target="../media/image31.wmf"/><Relationship Id="rId10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8.wmf"/><Relationship Id="rId14" Type="http://schemas.openxmlformats.org/officeDocument/2006/relationships/oleObject" Target="../embeddings/oleObject1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notesSlide" Target="../notesSlides/notesSlide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3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4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4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4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4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45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w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Title 1"/>
          <p:cNvSpPr txBox="1">
            <a:spLocks noGrp="1"/>
          </p:cNvSpPr>
          <p:nvPr>
            <p:ph type="ctrTitle"/>
          </p:nvPr>
        </p:nvSpPr>
        <p:spPr>
          <a:xfrm>
            <a:off x="401954" y="1182370"/>
            <a:ext cx="4167662" cy="23876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>
              <a:defRPr sz="4100">
                <a:solidFill>
                  <a:srgbClr val="C00000"/>
                </a:solidFill>
              </a:defRPr>
            </a:pPr>
            <a:r>
              <a:rPr lang="zh-CN" altLang="en-US" sz="3800" dirty="0">
                <a:ea typeface="宋体" panose="02010600030101010101" pitchFamily="2" charset="-122"/>
                <a:sym typeface="+mn-ea"/>
              </a:rPr>
              <a:t>个贷违约预测</a:t>
            </a:r>
            <a:r>
              <a:rPr lang="en-US" altLang="zh-CN" sz="3800" dirty="0">
                <a:ea typeface="宋体" panose="02010600030101010101" pitchFamily="2" charset="-122"/>
                <a:sym typeface="+mn-ea"/>
              </a:rPr>
              <a:t>1</a:t>
            </a:r>
            <a:br>
              <a:rPr lang="en-US" altLang="zh-CN" sz="3800" dirty="0">
                <a:ea typeface="宋体" panose="02010600030101010101" pitchFamily="2" charset="-122"/>
                <a:sym typeface="+mn-ea"/>
              </a:rPr>
            </a:br>
            <a:r>
              <a:rPr lang="en-US" altLang="zh-CN" sz="3800" dirty="0">
                <a:ea typeface="宋体" panose="02010600030101010101" pitchFamily="2" charset="-122"/>
                <a:sym typeface="+mn-ea"/>
              </a:rPr>
              <a:t>Lesson 3</a:t>
            </a:r>
            <a:endParaRPr sz="3800" dirty="0"/>
          </a:p>
        </p:txBody>
      </p:sp>
      <p:sp>
        <p:nvSpPr>
          <p:cNvPr id="122" name="Subtitle 2"/>
          <p:cNvSpPr txBox="1">
            <a:spLocks noGrp="1"/>
          </p:cNvSpPr>
          <p:nvPr>
            <p:ph type="subTitle" sz="quarter" idx="1"/>
          </p:nvPr>
        </p:nvSpPr>
        <p:spPr>
          <a:xfrm>
            <a:off x="833119" y="4728311"/>
            <a:ext cx="3200401" cy="1655761"/>
          </a:xfrm>
          <a:prstGeom prst="rect">
            <a:avLst/>
          </a:prstGeom>
        </p:spPr>
        <p:txBody>
          <a:bodyPr/>
          <a:lstStyle/>
          <a:p>
            <a:pPr algn="l">
              <a:defRPr sz="1600"/>
            </a:pPr>
            <a:r>
              <a:rPr lang="zh-CN" altLang="en-US" dirty="0"/>
              <a:t>陈旸 </a:t>
            </a:r>
            <a:r>
              <a:rPr lang="en-US" altLang="zh-CN" dirty="0"/>
              <a:t>&amp;</a:t>
            </a:r>
            <a:r>
              <a:rPr lang="zh-CN" altLang="en-US" dirty="0"/>
              <a:t> 开课吧人工智能学院</a:t>
            </a:r>
            <a:r>
              <a:rPr dirty="0" err="1"/>
              <a:t>课程组</a:t>
            </a:r>
            <a:r>
              <a:rPr dirty="0"/>
              <a:t> </a:t>
            </a:r>
          </a:p>
          <a:p>
            <a:pPr algn="l">
              <a:defRPr sz="1800"/>
            </a:pPr>
            <a:r>
              <a:rPr dirty="0"/>
              <a:t>20</a:t>
            </a:r>
            <a:r>
              <a:rPr lang="en-US" dirty="0"/>
              <a:t>22</a:t>
            </a:r>
            <a:r>
              <a:rPr dirty="0"/>
              <a:t>.</a:t>
            </a:r>
            <a:r>
              <a:rPr lang="en-US" altLang="zh-CN" dirty="0"/>
              <a:t>3</a:t>
            </a:r>
            <a:endParaRPr dirty="0"/>
          </a:p>
        </p:txBody>
      </p:sp>
      <p:pic>
        <p:nvPicPr>
          <p:cNvPr id="123" name="Picture 6" descr="Picture 6"/>
          <p:cNvPicPr>
            <a:picLocks noChangeAspect="1"/>
          </p:cNvPicPr>
          <p:nvPr/>
        </p:nvPicPr>
        <p:blipFill>
          <a:blip r:embed="rId2"/>
          <a:srcRect t="4253" r="2" b="18588"/>
          <a:stretch>
            <a:fillRect/>
          </a:stretch>
        </p:blipFill>
        <p:spPr>
          <a:xfrm>
            <a:off x="4657342" y="-2"/>
            <a:ext cx="2829215" cy="2183055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24" name="Picture 11" descr="Picture 11"/>
          <p:cNvPicPr>
            <a:picLocks noChangeAspect="1"/>
          </p:cNvPicPr>
          <p:nvPr/>
        </p:nvPicPr>
        <p:blipFill>
          <a:blip r:embed="rId3"/>
          <a:srcRect t="17272" r="3" b="3400"/>
          <a:stretch>
            <a:fillRect/>
          </a:stretch>
        </p:blipFill>
        <p:spPr>
          <a:xfrm>
            <a:off x="4657342" y="2274491"/>
            <a:ext cx="2825497" cy="2241464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25" name="Picture 7" descr="Picture 7"/>
          <p:cNvPicPr>
            <a:picLocks noChangeAspect="1"/>
          </p:cNvPicPr>
          <p:nvPr/>
        </p:nvPicPr>
        <p:blipFill>
          <a:blip r:embed="rId4"/>
          <a:srcRect r="23289" b="2"/>
          <a:stretch>
            <a:fillRect/>
          </a:stretch>
        </p:blipFill>
        <p:spPr>
          <a:xfrm>
            <a:off x="7570565" y="9"/>
            <a:ext cx="4614003" cy="3383271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26" name="Picture 14" descr="Picture 14"/>
          <p:cNvPicPr>
            <a:picLocks noChangeAspect="1"/>
          </p:cNvPicPr>
          <p:nvPr/>
        </p:nvPicPr>
        <p:blipFill>
          <a:blip r:embed="rId5"/>
          <a:srcRect l="7858"/>
          <a:stretch>
            <a:fillRect/>
          </a:stretch>
        </p:blipFill>
        <p:spPr>
          <a:xfrm>
            <a:off x="5553307" y="4728311"/>
            <a:ext cx="2128771" cy="1840378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27" name="Picture 9" descr="Picture 9"/>
          <p:cNvPicPr>
            <a:picLocks noChangeAspect="1"/>
          </p:cNvPicPr>
          <p:nvPr/>
        </p:nvPicPr>
        <p:blipFill>
          <a:blip r:embed="rId6"/>
          <a:srcRect t="7323" b="7905"/>
          <a:stretch>
            <a:fillRect/>
          </a:stretch>
        </p:blipFill>
        <p:spPr>
          <a:xfrm>
            <a:off x="7570565" y="3474720"/>
            <a:ext cx="4614003" cy="3383281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28" name="Picture 15" descr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9299" y="4674947"/>
            <a:ext cx="1470145" cy="1840378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FC36747B-721F-452C-B036-6C43AEAB58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952" y="220395"/>
            <a:ext cx="2540131" cy="812842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6100472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Version4</a:t>
            </a:r>
            <a:r>
              <a:rPr lang="zh-CN" altLang="en-US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使用</a:t>
            </a:r>
            <a:r>
              <a:rPr lang="en-US" altLang="zh-CN" sz="18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AutoML</a:t>
            </a:r>
            <a:r>
              <a:rPr lang="zh-CN" altLang="en-US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工具（</a:t>
            </a:r>
            <a:r>
              <a:rPr lang="en-US" altLang="zh-CN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AutoGluon</a:t>
            </a:r>
            <a:r>
              <a:rPr lang="zh-CN" altLang="en-US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）</a:t>
            </a:r>
            <a:endParaRPr lang="en-US" altLang="zh-CN" sz="18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）自动判断任务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'binary', 'multiclass', 'regression'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）自动特征工程：自动处理表格数据的神经网络（将每个类型特征单独训练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Embedding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向量），连续特征处理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3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）多模型融合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KNN,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LightGBM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RandomForest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CatBoost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ExtraTrees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等</a:t>
            </a:r>
          </a:p>
        </p:txBody>
      </p:sp>
      <p:sp>
        <p:nvSpPr>
          <p:cNvPr id="6" name="文本占位符 3">
            <a:extLst>
              <a:ext uri="{FF2B5EF4-FFF2-40B4-BE49-F238E27FC236}">
                <a16:creationId xmlns:a16="http://schemas.microsoft.com/office/drawing/2014/main" id="{1683543F-89D4-49F5-ADCA-A6AD8E680E99}"/>
              </a:ext>
            </a:extLst>
          </p:cNvPr>
          <p:cNvSpPr txBox="1">
            <a:spLocks/>
          </p:cNvSpPr>
          <p:nvPr/>
        </p:nvSpPr>
        <p:spPr>
          <a:xfrm>
            <a:off x="7156822" y="5882527"/>
            <a:ext cx="3983319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ample_submission.csv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提交预测结果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CDEB6180-4D3B-43F7-8754-AC81A56C3D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9782502"/>
              </p:ext>
            </p:extLst>
          </p:nvPr>
        </p:nvGraphicFramePr>
        <p:xfrm>
          <a:off x="7237506" y="1391311"/>
          <a:ext cx="3460376" cy="4358049"/>
        </p:xfrm>
        <a:graphic>
          <a:graphicData uri="http://schemas.openxmlformats.org/drawingml/2006/table">
            <a:tbl>
              <a:tblPr/>
              <a:tblGrid>
                <a:gridCol w="1730188">
                  <a:extLst>
                    <a:ext uri="{9D8B030D-6E8A-4147-A177-3AD203B41FA5}">
                      <a16:colId xmlns:a16="http://schemas.microsoft.com/office/drawing/2014/main" val="362903828"/>
                    </a:ext>
                  </a:extLst>
                </a:gridCol>
                <a:gridCol w="1730188">
                  <a:extLst>
                    <a:ext uri="{9D8B030D-6E8A-4147-A177-3AD203B41FA5}">
                      <a16:colId xmlns:a16="http://schemas.microsoft.com/office/drawing/2014/main" val="4029608709"/>
                    </a:ext>
                  </a:extLst>
                </a:gridCol>
              </a:tblGrid>
              <a:tr h="2612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RecordI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Subscrib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599886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6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560704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525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20872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07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102781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44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337889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11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283684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92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363848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23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858108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7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569285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9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813985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2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7256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9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8817200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41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712892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37611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69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554161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2297444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5777742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utoGlu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使用：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亚马逊开源的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AutoML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工具，使用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15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倍于单次训练的代价，得到调参结果比手调要好，适用于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CV, NLP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和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abular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表格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特点：无需数据清洗，自动进行特征工程、超参优化、模型选择</a:t>
            </a: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6C2612-7878-4E5A-AEBF-78F512AC4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423" y="4582461"/>
            <a:ext cx="4864332" cy="1998118"/>
          </a:xfrm>
          <a:prstGeom prst="rect">
            <a:avLst/>
          </a:prstGeom>
        </p:spPr>
      </p:pic>
      <p:sp>
        <p:nvSpPr>
          <p:cNvPr id="8" name="文本占位符 3">
            <a:extLst>
              <a:ext uri="{FF2B5EF4-FFF2-40B4-BE49-F238E27FC236}">
                <a16:creationId xmlns:a16="http://schemas.microsoft.com/office/drawing/2014/main" id="{63C589AD-A75B-4AD9-99EC-7320B545B074}"/>
              </a:ext>
            </a:extLst>
          </p:cNvPr>
          <p:cNvSpPr txBox="1">
            <a:spLocks/>
          </p:cNvSpPr>
          <p:nvPr/>
        </p:nvSpPr>
        <p:spPr>
          <a:xfrm>
            <a:off x="6329082" y="1455419"/>
            <a:ext cx="5777742" cy="494093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from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autogluon.tabular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 import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TabularPredictor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# 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创建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AutoML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模型</a:t>
            </a: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model =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TabularPredictor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(label="target", path="model")</a:t>
            </a: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# 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可以指定训练时长</a:t>
            </a: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model.fit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(train,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time_limit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=300)</a:t>
            </a: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# 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查看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Leaderboard</a:t>
            </a: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model.leaderboard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()</a:t>
            </a: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#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AutoML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预测</a:t>
            </a:r>
          </a:p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y_pred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model_autogluon.predict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(test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8003729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5777742" cy="4940935"/>
          </a:xfrm>
        </p:spPr>
        <p:txBody>
          <a:bodyPr>
            <a:noAutofit/>
          </a:bodyPr>
          <a:lstStyle/>
          <a:p>
            <a:pPr>
              <a:lnSpc>
                <a:spcPct val="170000"/>
              </a:lnSpc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utoGlu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可以执行的任务：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70000"/>
              </a:lnSpc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对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abular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表格预测的特点：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）使用表格神经网络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）多模型融合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3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）鲁棒的数据预处理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8" name="文本占位符 3">
            <a:extLst>
              <a:ext uri="{FF2B5EF4-FFF2-40B4-BE49-F238E27FC236}">
                <a16:creationId xmlns:a16="http://schemas.microsoft.com/office/drawing/2014/main" id="{63C589AD-A75B-4AD9-99EC-7320B545B074}"/>
              </a:ext>
            </a:extLst>
          </p:cNvPr>
          <p:cNvSpPr txBox="1">
            <a:spLocks/>
          </p:cNvSpPr>
          <p:nvPr/>
        </p:nvSpPr>
        <p:spPr>
          <a:xfrm>
            <a:off x="6352986" y="4906683"/>
            <a:ext cx="5777742" cy="1059366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spcBef>
                <a:spcPts val="400"/>
              </a:spcBef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utoGlu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中的多模型融合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spcBef>
                <a:spcPts val="400"/>
              </a:spcBef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ack Level 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多模型的输出结果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spcBef>
                <a:spcPts val="400"/>
              </a:spcBef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ack Level 2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通过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WeightedEnsembl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模型进行加权融合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F377DF7-4F28-4F5E-88B7-0FED861FDC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40" y="2156653"/>
            <a:ext cx="5167350" cy="164307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2F239DAB-D27C-455D-8F18-0DBB39937B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1106" y="1655301"/>
            <a:ext cx="4517692" cy="32946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617202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234292"/>
            <a:ext cx="5777742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查看不同模型的表现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model.leaderboard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() </a:t>
            </a: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查看模型详细配置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model.fit_summary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()</a:t>
            </a: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EA5432B-2555-4713-8079-9138A317A3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40" y="1917833"/>
            <a:ext cx="8410636" cy="2890859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6AAB87CF-875B-4085-BAD5-68E6236D8E5D}"/>
              </a:ext>
            </a:extLst>
          </p:cNvPr>
          <p:cNvSpPr txBox="1"/>
          <p:nvPr/>
        </p:nvSpPr>
        <p:spPr>
          <a:xfrm>
            <a:off x="551340" y="5231682"/>
            <a:ext cx="9668425" cy="151317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model_hyperparams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{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KNeighborsUnif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{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weights':'uniform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,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n_jobs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-1},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KNeighborsDist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{'weights': 'distance',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n_jobs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-1},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LightGBMXT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{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num_boost_round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10000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num_threads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-1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learning_rate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0.05,   'objective': 'regression',   'verbose': -1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boosting_type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gbdt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two_round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True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extra_trees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True},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LightGBM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{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num_boost_round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10000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num_threads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-1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learning_rate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0.05,   'objective': 'regression',   'verbose': -1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boosting_type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gbdt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,   '</a:t>
            </a:r>
            <a:r>
              <a:rPr lang="en-US" altLang="zh-CN" sz="1400" dirty="0" err="1">
                <a:ea typeface="宋体" panose="02010600030101010101" pitchFamily="2" charset="-122"/>
                <a:sym typeface="+mn-ea"/>
              </a:rPr>
              <a:t>two_round</a:t>
            </a:r>
            <a:r>
              <a:rPr lang="en-US" altLang="zh-CN" sz="1400" dirty="0">
                <a:ea typeface="宋体" panose="02010600030101010101" pitchFamily="2" charset="-122"/>
                <a:sym typeface="+mn-ea"/>
              </a:rPr>
              <a:t>': True}, ……</a:t>
            </a: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8A9C9951-648E-43D3-9310-91CF8F2AE9E8}"/>
              </a:ext>
            </a:extLst>
          </p:cNvPr>
          <p:cNvSpPr/>
          <p:nvPr/>
        </p:nvSpPr>
        <p:spPr>
          <a:xfrm>
            <a:off x="2097744" y="1905881"/>
            <a:ext cx="902448" cy="3012755"/>
          </a:xfrm>
          <a:prstGeom prst="roundRect">
            <a:avLst/>
          </a:prstGeom>
          <a:noFill/>
          <a:ln w="19050" cap="flat">
            <a:solidFill>
              <a:srgbClr val="FF0000"/>
            </a:solidFill>
            <a:prstDash val="solid"/>
            <a:miter lim="8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 panose="020F0502020204030204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652BDB15-A45F-4805-A466-8F47EF433BB8}"/>
              </a:ext>
            </a:extLst>
          </p:cNvPr>
          <p:cNvSpPr/>
          <p:nvPr/>
        </p:nvSpPr>
        <p:spPr>
          <a:xfrm>
            <a:off x="8382000" y="1856884"/>
            <a:ext cx="726139" cy="3012755"/>
          </a:xfrm>
          <a:prstGeom prst="roundRect">
            <a:avLst/>
          </a:prstGeom>
          <a:noFill/>
          <a:ln w="19050" cap="flat">
            <a:solidFill>
              <a:srgbClr val="FF0000"/>
            </a:solidFill>
            <a:prstDash val="solid"/>
            <a:miter lim="8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 panose="020F0502020204030204"/>
            </a:endParaRPr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891E56AE-3AF7-48E1-A329-591879A934A1}"/>
              </a:ext>
            </a:extLst>
          </p:cNvPr>
          <p:cNvSpPr txBox="1">
            <a:spLocks/>
          </p:cNvSpPr>
          <p:nvPr/>
        </p:nvSpPr>
        <p:spPr>
          <a:xfrm>
            <a:off x="9783482" y="2187388"/>
            <a:ext cx="2323342" cy="1284941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针对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regressi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任务，默认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metric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为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RMS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从小到大进行排序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7437997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5777742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utoGlu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的训练参数：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model =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TabularPredictor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(label, 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eval_metric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=metric, path=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save_path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).fit(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train_data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, presets='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best_quality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')</a:t>
            </a:r>
          </a:p>
          <a:p>
            <a:pPr>
              <a:lnSpc>
                <a:spcPct val="170000"/>
              </a:lnSpc>
            </a:pP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time_limit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 : 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模型训练的最长等待时间，通常不设置</a:t>
            </a:r>
          </a:p>
          <a:p>
            <a:pPr>
              <a:lnSpc>
                <a:spcPct val="170000"/>
              </a:lnSpc>
            </a:pP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eval_metric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: 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评估指标，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UC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还是精度等</a:t>
            </a:r>
          </a:p>
          <a:p>
            <a:pPr>
              <a:lnSpc>
                <a:spcPct val="170000"/>
              </a:lnSpc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presets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 默认为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medium_quality_faster_trai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损失了精度但是速度比较快，如果设置为</a:t>
            </a: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best_quality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会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bagging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和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acking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以提高性能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70000"/>
              </a:lnSpc>
            </a:pPr>
            <a:endParaRPr lang="zh-CN" altLang="en-US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zh-CN" altLang="en-US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200677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dirty="0">
                <a:sym typeface="+mn-ea"/>
              </a:rPr>
              <a:t>在线模型部署</a:t>
            </a:r>
            <a:endParaRPr lang="zh-CN" altLang="zh-CN" dirty="0"/>
          </a:p>
        </p:txBody>
      </p:sp>
      <p:sp>
        <p:nvSpPr>
          <p:cNvPr id="164" name="Content Placeholder 2"/>
          <p:cNvSpPr txBox="1">
            <a:spLocks noGrp="1"/>
          </p:cNvSpPr>
          <p:nvPr>
            <p:ph type="body" idx="1"/>
          </p:nvPr>
        </p:nvSpPr>
        <p:spPr>
          <a:xfrm>
            <a:off x="601980" y="1266622"/>
            <a:ext cx="5732559" cy="438543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0" indent="0">
              <a:lnSpc>
                <a:spcPct val="150000"/>
              </a:lnSpc>
              <a:buNone/>
            </a:pPr>
            <a:r>
              <a:rPr lang="en-US" altLang="zh-CN" sz="1800" dirty="0"/>
              <a:t>To DO</a:t>
            </a:r>
            <a:r>
              <a:rPr lang="zh-CN" altLang="en-US" sz="1800" dirty="0"/>
              <a:t>：以波士顿房价预测为例，部署一个在线服务</a:t>
            </a: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r>
              <a:rPr lang="en-US" altLang="zh-CN" sz="1800" dirty="0"/>
              <a:t>Step1</a:t>
            </a:r>
            <a:r>
              <a:rPr lang="zh-CN" altLang="en-US" sz="1800" dirty="0"/>
              <a:t>，编写房价预测模型</a:t>
            </a: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r>
              <a:rPr lang="en-US" altLang="zh-CN" sz="1800" dirty="0"/>
              <a:t>Step2</a:t>
            </a:r>
            <a:r>
              <a:rPr lang="zh-CN" altLang="en-US" sz="1800" dirty="0"/>
              <a:t>，导出模型，使用</a:t>
            </a:r>
            <a:r>
              <a:rPr lang="en-US" altLang="zh-CN" sz="1800" dirty="0" err="1"/>
              <a:t>model.save</a:t>
            </a:r>
            <a:r>
              <a:rPr lang="en-US" altLang="zh-CN" sz="1800" dirty="0"/>
              <a:t>(path="model/</a:t>
            </a:r>
            <a:r>
              <a:rPr lang="en-US" altLang="zh-CN" sz="1800" dirty="0" err="1"/>
              <a:t>uci_housing</a:t>
            </a:r>
            <a:r>
              <a:rPr lang="en-US" altLang="zh-CN" sz="1800" dirty="0"/>
              <a:t>", training=False)</a:t>
            </a:r>
          </a:p>
          <a:p>
            <a:pPr marL="0" lvl="0" indent="0">
              <a:lnSpc>
                <a:spcPct val="150000"/>
              </a:lnSpc>
              <a:buNone/>
            </a:pPr>
            <a:r>
              <a:rPr lang="en-US" altLang="zh-CN" sz="1800" dirty="0"/>
              <a:t>Step3</a:t>
            </a:r>
            <a:r>
              <a:rPr lang="zh-CN" altLang="en-US" sz="1800" dirty="0"/>
              <a:t>，开始部署</a:t>
            </a: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r>
              <a:rPr lang="en-US" altLang="zh-CN" sz="1800" dirty="0"/>
              <a:t>1</a:t>
            </a:r>
            <a:r>
              <a:rPr lang="zh-CN" altLang="en-US" sz="1800" dirty="0"/>
              <a:t>）点击部署按钮</a:t>
            </a: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r>
              <a:rPr lang="en-US" altLang="zh-CN" sz="1800" dirty="0"/>
              <a:t>2</a:t>
            </a:r>
            <a:r>
              <a:rPr lang="zh-CN" altLang="en-US" sz="1800" dirty="0"/>
              <a:t>）选择保存好的模型</a:t>
            </a:r>
            <a:endParaRPr lang="en-US" altLang="zh-CN" sz="1800" dirty="0"/>
          </a:p>
          <a:p>
            <a:pPr marL="0" lvl="0" indent="0">
              <a:lnSpc>
                <a:spcPct val="150000"/>
              </a:lnSpc>
              <a:buNone/>
            </a:pPr>
            <a:endParaRPr lang="en-US" altLang="zh-CN" sz="160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3469845-0D62-4D2C-8370-C71A6D92C7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691" y="4534804"/>
            <a:ext cx="5641557" cy="128013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E8B49A2-CBAF-43B6-B481-84054670F37F}"/>
              </a:ext>
            </a:extLst>
          </p:cNvPr>
          <p:cNvSpPr txBox="1">
            <a:spLocks/>
          </p:cNvSpPr>
          <p:nvPr/>
        </p:nvSpPr>
        <p:spPr>
          <a:xfrm>
            <a:off x="6243537" y="1236283"/>
            <a:ext cx="5732559" cy="4385434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/>
              <a:buNone/>
            </a:pPr>
            <a:endParaRPr lang="en-US" altLang="zh-CN" sz="1800" dirty="0"/>
          </a:p>
          <a:p>
            <a:pPr marL="0" indent="0">
              <a:lnSpc>
                <a:spcPct val="150000"/>
              </a:lnSpc>
              <a:buFont typeface="Arial" panose="020B0604020202020204"/>
              <a:buNone/>
            </a:pPr>
            <a:endParaRPr lang="en-US" altLang="zh-CN" sz="1800" dirty="0"/>
          </a:p>
          <a:p>
            <a:pPr marL="0" indent="0">
              <a:lnSpc>
                <a:spcPct val="150000"/>
              </a:lnSpc>
              <a:buFont typeface="Arial" panose="020B0604020202020204"/>
              <a:buNone/>
            </a:pPr>
            <a:endParaRPr lang="en-US" altLang="zh-CN" sz="1800" dirty="0"/>
          </a:p>
          <a:p>
            <a:pPr marL="0" indent="0">
              <a:lnSpc>
                <a:spcPct val="150000"/>
              </a:lnSpc>
              <a:buFont typeface="Arial" panose="020B0604020202020204"/>
              <a:buNone/>
            </a:pPr>
            <a:endParaRPr lang="en-US" altLang="zh-CN" sz="1800" dirty="0"/>
          </a:p>
          <a:p>
            <a:pPr marL="0" indent="0">
              <a:lnSpc>
                <a:spcPct val="150000"/>
              </a:lnSpc>
              <a:buFont typeface="Arial" panose="020B0604020202020204"/>
              <a:buNone/>
            </a:pPr>
            <a:r>
              <a:rPr lang="en-US" altLang="zh-CN" sz="1800" dirty="0"/>
              <a:t>3</a:t>
            </a:r>
            <a:r>
              <a:rPr lang="zh-CN" altLang="en-US" sz="1800" dirty="0"/>
              <a:t>）填写输入输出格式</a:t>
            </a:r>
            <a:endParaRPr lang="en-US" altLang="zh-CN" sz="1800" dirty="0"/>
          </a:p>
          <a:p>
            <a:pPr marL="0" indent="0">
              <a:lnSpc>
                <a:spcPct val="150000"/>
              </a:lnSpc>
              <a:buFont typeface="Arial" panose="020B0604020202020204"/>
              <a:buNone/>
            </a:pPr>
            <a:endParaRPr lang="en-US" altLang="zh-CN" sz="1800" dirty="0"/>
          </a:p>
          <a:p>
            <a:pPr marL="0" indent="0">
              <a:lnSpc>
                <a:spcPct val="150000"/>
              </a:lnSpc>
              <a:buFont typeface="Arial" panose="020B0604020202020204"/>
              <a:buNone/>
            </a:pPr>
            <a:endParaRPr lang="en-US" altLang="zh-CN" sz="1600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6012ECDD-01C1-453C-9FEB-297CB2767B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3747" y="1149852"/>
            <a:ext cx="2983590" cy="213441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96981803-55D0-4F69-A1C0-9326D33CC7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6114" y="3949818"/>
            <a:ext cx="5333871" cy="1391643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BF5FA933-A833-4F6C-A07B-95243959EF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7440" y="5436188"/>
            <a:ext cx="5333871" cy="1273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513755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/>
          <p:cNvSpPr/>
          <p:nvPr/>
        </p:nvSpPr>
        <p:spPr>
          <a:xfrm>
            <a:off x="321564" y="320039"/>
            <a:ext cx="11548872" cy="6217922"/>
          </a:xfrm>
          <a:prstGeom prst="rect">
            <a:avLst/>
          </a:prstGeom>
          <a:solidFill>
            <a:srgbClr val="000000">
              <a:alpha val="12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4" name="Title 1"/>
          <p:cNvSpPr txBox="1">
            <a:spLocks noGrp="1"/>
          </p:cNvSpPr>
          <p:nvPr>
            <p:ph type="ctrTitle"/>
          </p:nvPr>
        </p:nvSpPr>
        <p:spPr>
          <a:xfrm>
            <a:off x="4380588" y="965198"/>
            <a:ext cx="7290481" cy="4927603"/>
          </a:xfrm>
          <a:prstGeom prst="rect">
            <a:avLst/>
          </a:prstGeom>
        </p:spPr>
        <p:txBody>
          <a:bodyPr anchor="ctr"/>
          <a:lstStyle/>
          <a:p>
            <a:pPr algn="l">
              <a:defRPr sz="5400">
                <a:solidFill>
                  <a:srgbClr val="C00000"/>
                </a:solidFill>
              </a:defRPr>
            </a:pPr>
            <a:r>
              <a:rPr lang="en-US" sz="4800" dirty="0"/>
              <a:t>2</a:t>
            </a:r>
            <a:r>
              <a:rPr lang="en-US" altLang="zh-CN" sz="4800" dirty="0"/>
              <a:t>/2</a:t>
            </a:r>
            <a:r>
              <a:rPr lang="zh-CN" altLang="en-US" sz="4800" dirty="0"/>
              <a:t> 个贷违约预测</a:t>
            </a:r>
            <a:endParaRPr lang="zh-CN" altLang="en-US" sz="4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5" name="Straight Connector 8"/>
          <p:cNvSpPr/>
          <p:nvPr/>
        </p:nvSpPr>
        <p:spPr>
          <a:xfrm flipH="1">
            <a:off x="4055891" y="2057399"/>
            <a:ext cx="1" cy="2743201"/>
          </a:xfrm>
          <a:prstGeom prst="line">
            <a:avLst/>
          </a:prstGeom>
          <a:ln w="19050">
            <a:solidFill>
              <a:srgbClr val="262626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77010118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17DA5515-15B9-4BC7-9941-24ABB2E5137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幻灯片" r:id="rId6" imgW="501" imgH="502" progId="TCLayout.ActiveDocument.1">
                  <p:embed/>
                </p:oleObj>
              </mc:Choice>
              <mc:Fallback>
                <p:oleObj name="think-cell 幻灯片" r:id="rId6" imgW="501" imgH="502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17DA5515-15B9-4BC7-9941-24ABB2E51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：个贷违约预测</a:t>
            </a: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829151" y="1532036"/>
            <a:ext cx="5110959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个贷违约预测（迁移学习）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    贷款违约是银行面临的主要风控挑战之一，为准确预测和辨识贷款违约样例，需要大量的实际同类型同客群的信贷行为数据来指导建模。银行等金融机构在建立新的信贷业务时，往往缺乏足够的同类型数据，且由于信贷行为数据中存在大量用户隐私，难以从外部渠道获取，迁移学习成了解决这种困境的解决方案之一。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  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迁移学习通常利用已有的类型或客群稍有差异的另一批信贷数据，辅助新业务风控模型的创建。其基础源于相似贷款业务上客户行为的相似性，通过挖掘相近数据的信息去补充新业务数据的不足，助力新业务模型创建的效率提升。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CBACC3F-A9F6-4682-9E99-6D986622D3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6589" y="2004956"/>
            <a:ext cx="5186400" cy="349093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16518049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2AED13A-748C-422F-B53C-060E6FCF1FB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幻灯片" r:id="rId5" imgW="463" imgH="464" progId="TCLayout.ActiveDocument.1">
                  <p:embed/>
                </p:oleObj>
              </mc:Choice>
              <mc:Fallback>
                <p:oleObj name="think-cell 幻灯片" r:id="rId5" imgW="463" imgH="464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2AED13A-748C-422F-B53C-060E6FCF1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1">
            <a:extLst>
              <a:ext uri="{FF2B5EF4-FFF2-40B4-BE49-F238E27FC236}">
                <a16:creationId xmlns:a16="http://schemas.microsoft.com/office/drawing/2014/main" id="{2BDA0C2C-0736-46B2-9DF7-1CCFC62F4968}"/>
              </a:ext>
            </a:extLst>
          </p:cNvPr>
          <p:cNvSpPr txBox="1">
            <a:spLocks/>
          </p:cNvSpPr>
          <p:nvPr/>
        </p:nvSpPr>
        <p:spPr>
          <a:xfrm>
            <a:off x="541413" y="1186631"/>
            <a:ext cx="5554587" cy="58104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数据集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A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</a:t>
            </a:r>
            <a:r>
              <a:rPr lang="zh-CN" altLang="en-US" sz="1600" b="1" dirty="0">
                <a:ea typeface="宋体" panose="02010600030101010101" pitchFamily="2" charset="-122"/>
                <a:sym typeface="+mn-ea"/>
              </a:rPr>
              <a:t>个人贷款记录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train_public.csv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训练集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万条记录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39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个指标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test_public.csv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测试集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5000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条记录</a:t>
            </a:r>
            <a:endParaRPr lang="en-US" altLang="zh-CN" sz="1600" dirty="0">
              <a:ea typeface="宋体" panose="02010600030101010101" pitchFamily="2" charset="-122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altLang="en-US" sz="1600" dirty="0">
                <a:ea typeface="宋体" panose="02010600030101010101" pitchFamily="2" charset="-122"/>
              </a:rPr>
              <a:t>其中存在匿名变量，并且对</a:t>
            </a:r>
            <a:r>
              <a:rPr lang="en-US" altLang="zh-CN" sz="1600" dirty="0" err="1">
                <a:ea typeface="宋体" panose="02010600030101010101" pitchFamily="2" charset="-122"/>
              </a:rPr>
              <a:t>employmentTitle</a:t>
            </a:r>
            <a:r>
              <a:rPr lang="zh-CN" altLang="en-US" sz="1600" dirty="0">
                <a:ea typeface="宋体" panose="02010600030101010101" pitchFamily="2" charset="-122"/>
              </a:rPr>
              <a:t>、</a:t>
            </a:r>
            <a:r>
              <a:rPr lang="en-US" altLang="zh-CN" sz="1600" dirty="0">
                <a:ea typeface="宋体" panose="02010600030101010101" pitchFamily="2" charset="-122"/>
              </a:rPr>
              <a:t>purpose</a:t>
            </a:r>
            <a:r>
              <a:rPr lang="zh-CN" altLang="en-US" sz="1600" dirty="0">
                <a:ea typeface="宋体" panose="02010600030101010101" pitchFamily="2" charset="-122"/>
              </a:rPr>
              <a:t>、</a:t>
            </a:r>
            <a:r>
              <a:rPr lang="en-US" altLang="zh-CN" sz="1600" dirty="0" err="1">
                <a:ea typeface="宋体" panose="02010600030101010101" pitchFamily="2" charset="-122"/>
              </a:rPr>
              <a:t>postCode</a:t>
            </a:r>
            <a:r>
              <a:rPr lang="zh-CN" altLang="en-US" sz="1600" dirty="0">
                <a:ea typeface="宋体" panose="02010600030101010101" pitchFamily="2" charset="-122"/>
              </a:rPr>
              <a:t>和</a:t>
            </a:r>
            <a:r>
              <a:rPr lang="en-US" altLang="zh-CN" sz="1600" dirty="0">
                <a:ea typeface="宋体" panose="02010600030101010101" pitchFamily="2" charset="-122"/>
              </a:rPr>
              <a:t>title</a:t>
            </a:r>
            <a:r>
              <a:rPr lang="zh-CN" altLang="en-US" sz="1600" dirty="0">
                <a:ea typeface="宋体" panose="02010600030101010101" pitchFamily="2" charset="-122"/>
              </a:rPr>
              <a:t>等字段进行脱敏</a:t>
            </a:r>
            <a:endParaRPr lang="en-US" altLang="zh-CN" sz="1600" dirty="0"/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isDefault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是否违约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09221571-2A43-438E-BC8E-E550789D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：个贷违约预测</a:t>
            </a:r>
            <a:endParaRPr lang="zh-CN" altLang="en-US" dirty="0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0370CE3E-8575-4F64-BFAB-6D506E4D6157}"/>
              </a:ext>
            </a:extLst>
          </p:cNvPr>
          <p:cNvGraphicFramePr>
            <a:graphicFrameLocks noGrp="1"/>
          </p:cNvGraphicFramePr>
          <p:nvPr/>
        </p:nvGraphicFramePr>
        <p:xfrm>
          <a:off x="5926331" y="1186631"/>
          <a:ext cx="6100653" cy="521103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41481">
                  <a:extLst>
                    <a:ext uri="{9D8B030D-6E8A-4147-A177-3AD203B41FA5}">
                      <a16:colId xmlns:a16="http://schemas.microsoft.com/office/drawing/2014/main" val="3751324565"/>
                    </a:ext>
                  </a:extLst>
                </a:gridCol>
                <a:gridCol w="4359172">
                  <a:extLst>
                    <a:ext uri="{9D8B030D-6E8A-4147-A177-3AD203B41FA5}">
                      <a16:colId xmlns:a16="http://schemas.microsoft.com/office/drawing/2014/main" val="1064381050"/>
                    </a:ext>
                  </a:extLst>
                </a:gridCol>
              </a:tblGrid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字段</a:t>
                      </a:r>
                      <a:endParaRPr lang="zh-CN" altLang="en-US" sz="1200" b="1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字段描述</a:t>
                      </a:r>
                      <a:endParaRPr lang="zh-CN" altLang="en-US" sz="1200" b="1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86088459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loan_id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贷款记录唯一标识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5933852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user_id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借款人唯一标识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904059827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total_loa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数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780706040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year_of_loa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年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338040447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nteres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当前贷款利率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793859522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monthly_paymen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分期付款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87163453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gra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级别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4191800993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employment_typ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所在公司类型（世界五百强、国有企业、普通企业</a:t>
                      </a:r>
                      <a:r>
                        <a:rPr lang="en-US" altLang="zh-CN" sz="1200" u="none" strike="noStrike" dirty="0">
                          <a:effectLst/>
                        </a:rPr>
                        <a:t>…</a:t>
                      </a:r>
                      <a:r>
                        <a:rPr lang="zh-CN" altLang="en-US" sz="1200" u="none" strike="noStrike" dirty="0">
                          <a:effectLst/>
                        </a:rPr>
                        <a:t>）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622271340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ndustry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工作领域（传统工业、商业、互联网、金融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41722785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work_year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工作年限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9412544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home_exis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是否有房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889624135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censor_statu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审核情况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064092333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ssue_mont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发放的月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797052835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us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用途类别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85669289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post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人申请时邮政编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98910355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regio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地区编码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665683183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debt_loan_ratio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债务收入比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87996558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del_in_18mont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借款人过去</a:t>
                      </a:r>
                      <a:r>
                        <a:rPr lang="en-US" altLang="zh-CN" sz="1200" u="none" strike="noStrike">
                          <a:effectLst/>
                        </a:rPr>
                        <a:t>18</a:t>
                      </a:r>
                      <a:r>
                        <a:rPr lang="zh-CN" altLang="en-US" sz="1200" u="none" strike="noStrike">
                          <a:effectLst/>
                        </a:rPr>
                        <a:t>个月逾期</a:t>
                      </a:r>
                      <a:r>
                        <a:rPr lang="en-US" altLang="zh-CN" sz="1200" u="none" strike="noStrike">
                          <a:effectLst/>
                        </a:rPr>
                        <a:t>30</a:t>
                      </a:r>
                      <a:r>
                        <a:rPr lang="zh-CN" altLang="en-US" sz="1200" u="none" strike="noStrike">
                          <a:effectLst/>
                        </a:rPr>
                        <a:t>天以上的违约事件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636147961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scoring_low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借款人在贷款评分中所属的下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79684212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scoring_hig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借款人在贷款评分中所属的上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429610849"/>
                  </a:ext>
                </a:extLst>
              </a:tr>
              <a:tr h="3157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known_outstanding_loa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借款人档案中未结信用额度的数量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97864871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known_dero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贬损公共记录的数量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533676731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pub_dero_bankrup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公开记录清除的数量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84396112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recircle_bal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信贷周转余额合计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234858306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recircle_util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循环额度利用率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4189817646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initial_list_status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贷款的初始列表状态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509855613"/>
                  </a:ext>
                </a:extLst>
              </a:tr>
            </a:tbl>
          </a:graphicData>
        </a:graphic>
      </p:graphicFrame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B19EFDB0-E7D1-450A-B079-128DA562DEA2}"/>
              </a:ext>
            </a:extLst>
          </p:cNvPr>
          <p:cNvGraphicFramePr>
            <a:graphicFrameLocks noGrp="1"/>
          </p:cNvGraphicFramePr>
          <p:nvPr/>
        </p:nvGraphicFramePr>
        <p:xfrm>
          <a:off x="388472" y="4356844"/>
          <a:ext cx="5426632" cy="207250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82766">
                  <a:extLst>
                    <a:ext uri="{9D8B030D-6E8A-4147-A177-3AD203B41FA5}">
                      <a16:colId xmlns:a16="http://schemas.microsoft.com/office/drawing/2014/main" val="245251678"/>
                    </a:ext>
                  </a:extLst>
                </a:gridCol>
                <a:gridCol w="3843866">
                  <a:extLst>
                    <a:ext uri="{9D8B030D-6E8A-4147-A177-3AD203B41FA5}">
                      <a16:colId xmlns:a16="http://schemas.microsoft.com/office/drawing/2014/main" val="1352988678"/>
                    </a:ext>
                  </a:extLst>
                </a:gridCol>
              </a:tblGrid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app_type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是否个人申请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648591993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ies_credit_mo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借款人最早报告的信用额度开立的月份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723220788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titl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提供的贷款名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84803525"/>
                  </a:ext>
                </a:extLst>
              </a:tr>
              <a:tr h="2660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olicy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公开可用的策略</a:t>
                      </a:r>
                      <a:r>
                        <a:rPr lang="en-US" altLang="zh-CN" sz="1200" u="none" strike="noStrike">
                          <a:effectLst/>
                        </a:rPr>
                        <a:t>_</a:t>
                      </a:r>
                      <a:r>
                        <a:rPr lang="zh-CN" altLang="en-US" sz="1200" u="none" strike="noStrike">
                          <a:effectLst/>
                        </a:rPr>
                        <a:t>代码</a:t>
                      </a:r>
                      <a:r>
                        <a:rPr lang="en-US" altLang="zh-CN" sz="1200" u="none" strike="noStrike">
                          <a:effectLst/>
                        </a:rPr>
                        <a:t>=1</a:t>
                      </a:r>
                      <a:r>
                        <a:rPr lang="zh-CN" altLang="en-US" sz="1200" u="none" strike="noStrike">
                          <a:effectLst/>
                        </a:rPr>
                        <a:t>新产品不公开可用的策略</a:t>
                      </a:r>
                      <a:r>
                        <a:rPr lang="en-US" altLang="zh-CN" sz="1200" u="none" strike="noStrike">
                          <a:effectLst/>
                        </a:rPr>
                        <a:t>_</a:t>
                      </a:r>
                      <a:r>
                        <a:rPr lang="zh-CN" altLang="en-US" sz="1200" u="none" strike="noStrike">
                          <a:effectLst/>
                        </a:rPr>
                        <a:t>代码</a:t>
                      </a:r>
                      <a:r>
                        <a:rPr lang="en-US" altLang="zh-CN" sz="1200" u="none" strike="noStrike">
                          <a:effectLst/>
                        </a:rPr>
                        <a:t>=2</a:t>
                      </a:r>
                      <a:endParaRPr lang="en-US" altLang="zh-CN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466635826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f</a:t>
                      </a:r>
                      <a:r>
                        <a:rPr lang="zh-CN" altLang="en-US" sz="1200" u="none" strike="noStrike">
                          <a:effectLst/>
                        </a:rPr>
                        <a:t>系列匿名特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匿名特征</a:t>
                      </a:r>
                      <a:r>
                        <a:rPr lang="en-US" altLang="zh-CN" sz="1200" u="none" strike="noStrike">
                          <a:effectLst/>
                        </a:rPr>
                        <a:t>f0-f4</a:t>
                      </a:r>
                      <a:r>
                        <a:rPr lang="zh-CN" altLang="en-US" sz="1200" u="none" strike="noStrike">
                          <a:effectLst/>
                        </a:rPr>
                        <a:t>，为一些贷款人行为计数特征的处理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4104367091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提前还款次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214404402"/>
                  </a:ext>
                </a:extLst>
              </a:tr>
              <a:tr h="2660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_amoun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贷款人提前还款累积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484386279"/>
                  </a:ext>
                </a:extLst>
              </a:tr>
              <a:tr h="4361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early_return_amount_3mo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近</a:t>
                      </a:r>
                      <a:r>
                        <a:rPr lang="en-US" altLang="zh-CN" sz="1200" u="none" strike="noStrike" dirty="0">
                          <a:effectLst/>
                        </a:rPr>
                        <a:t>3</a:t>
                      </a:r>
                      <a:r>
                        <a:rPr lang="zh-CN" altLang="en-US" sz="1200" u="none" strike="noStrike" dirty="0">
                          <a:effectLst/>
                        </a:rPr>
                        <a:t>个月内提前还款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173054216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041661057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2AED13A-748C-422F-B53C-060E6FCF1FB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幻灯片" r:id="rId5" imgW="463" imgH="464" progId="TCLayout.ActiveDocument.1">
                  <p:embed/>
                </p:oleObj>
              </mc:Choice>
              <mc:Fallback>
                <p:oleObj name="think-cell 幻灯片" r:id="rId5" imgW="463" imgH="464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2AED13A-748C-422F-B53C-060E6FCF1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1">
            <a:extLst>
              <a:ext uri="{FF2B5EF4-FFF2-40B4-BE49-F238E27FC236}">
                <a16:creationId xmlns:a16="http://schemas.microsoft.com/office/drawing/2014/main" id="{2BDA0C2C-0736-46B2-9DF7-1CCFC62F4968}"/>
              </a:ext>
            </a:extLst>
          </p:cNvPr>
          <p:cNvSpPr txBox="1">
            <a:spLocks/>
          </p:cNvSpPr>
          <p:nvPr/>
        </p:nvSpPr>
        <p:spPr>
          <a:xfrm>
            <a:off x="478592" y="1319619"/>
            <a:ext cx="5554587" cy="45655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数据集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B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</a:t>
            </a:r>
            <a:r>
              <a:rPr lang="zh-CN" altLang="en-US" sz="1600" b="1" dirty="0">
                <a:ea typeface="宋体" panose="02010600030101010101" pitchFamily="2" charset="-122"/>
                <a:sym typeface="+mn-ea"/>
              </a:rPr>
              <a:t>网络信用贷 网络贷款记录</a:t>
            </a:r>
            <a:endParaRPr lang="en-US" altLang="zh-CN" sz="1600" b="1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train_internet.csv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75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万条网络贷款记录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43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个指标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isDefault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是否违约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EB22EAF-B7BE-4205-BD61-745B01CD8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：个贷违约预测</a:t>
            </a:r>
            <a:endParaRPr lang="zh-CN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8CAFAC7B-3E09-4D2E-811D-B8B79620DE00}"/>
              </a:ext>
            </a:extLst>
          </p:cNvPr>
          <p:cNvGraphicFramePr>
            <a:graphicFrameLocks noGrp="1"/>
          </p:cNvGraphicFramePr>
          <p:nvPr/>
        </p:nvGraphicFramePr>
        <p:xfrm>
          <a:off x="5766264" y="1155622"/>
          <a:ext cx="5917733" cy="552233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31430">
                  <a:extLst>
                    <a:ext uri="{9D8B030D-6E8A-4147-A177-3AD203B41FA5}">
                      <a16:colId xmlns:a16="http://schemas.microsoft.com/office/drawing/2014/main" val="1247111460"/>
                    </a:ext>
                  </a:extLst>
                </a:gridCol>
                <a:gridCol w="3986303">
                  <a:extLst>
                    <a:ext uri="{9D8B030D-6E8A-4147-A177-3AD203B41FA5}">
                      <a16:colId xmlns:a16="http://schemas.microsoft.com/office/drawing/2014/main" val="3261904152"/>
                    </a:ext>
                  </a:extLst>
                </a:gridCol>
              </a:tblGrid>
              <a:tr h="20222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字段</a:t>
                      </a:r>
                      <a:endParaRPr lang="zh-CN" altLang="en-US" sz="1200" b="1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字段描述</a:t>
                      </a:r>
                      <a:endParaRPr lang="zh-CN" altLang="en-US" sz="1200" b="1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413290901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loan_id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记录唯一标识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197494492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user_id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用户唯一标识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698941678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total_loa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920595537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year_of_loa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期限（</a:t>
                      </a:r>
                      <a:r>
                        <a:rPr lang="en-US" altLang="zh-CN" sz="1200" u="none" strike="noStrike">
                          <a:effectLst/>
                        </a:rPr>
                        <a:t>year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985025632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interes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利率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753018895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monthly_paymen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分期付款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49977439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clas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等级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93382073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sub_clas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等级之子级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060341305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work_typ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工作类型（公务员、企业白领、创业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4040662605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employment_typ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所在公司类型（世界五百强、国有企业、普通企业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103304979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industry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工作领域（传统工业、商业、互联网、金融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796989458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work_year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就业年限（年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528094225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house_ownership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是否有房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49703640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house_loan_statu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房屋贷款状况（无房贷、正在还房贷、已经还完房贷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954431839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censor_status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验证状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918786609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marriag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婚姻状态（未婚、已婚、离异、丧偶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855706334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offsprings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子女状态</a:t>
                      </a:r>
                      <a:r>
                        <a:rPr lang="en-US" altLang="zh-CN" sz="1200" u="none" strike="noStrike">
                          <a:effectLst/>
                        </a:rPr>
                        <a:t>(</a:t>
                      </a:r>
                      <a:r>
                        <a:rPr lang="zh-CN" altLang="en-US" sz="1200" u="none" strike="noStrike">
                          <a:effectLst/>
                        </a:rPr>
                        <a:t>无子女、学前、小学、中学、大学、工作</a:t>
                      </a:r>
                      <a:r>
                        <a:rPr lang="en-US" altLang="zh-CN" sz="1200" u="none" strike="noStrike">
                          <a:effectLst/>
                        </a:rPr>
                        <a:t>)</a:t>
                      </a:r>
                      <a:endParaRPr lang="en-US" altLang="zh-CN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181746959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issue_date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发放的月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85695136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use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贷款用途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16583384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ost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邮政编码的前</a:t>
                      </a:r>
                      <a:r>
                        <a:rPr lang="en-US" altLang="zh-CN" sz="1200" u="none" strike="noStrike">
                          <a:effectLst/>
                        </a:rPr>
                        <a:t>3</a:t>
                      </a:r>
                      <a:r>
                        <a:rPr lang="zh-CN" altLang="en-US" sz="1200" u="none" strike="noStrike">
                          <a:effectLst/>
                        </a:rPr>
                        <a:t>位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374623212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regio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地区编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194470326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debt_loan_ratio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债务收入比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028005881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del_in_18month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借款人过去</a:t>
                      </a:r>
                      <a:r>
                        <a:rPr lang="en-US" altLang="zh-CN" sz="1200" u="none" strike="noStrike" dirty="0">
                          <a:effectLst/>
                        </a:rPr>
                        <a:t>18</a:t>
                      </a:r>
                      <a:r>
                        <a:rPr lang="zh-CN" altLang="en-US" sz="1200" u="none" strike="noStrike" dirty="0">
                          <a:effectLst/>
                        </a:rPr>
                        <a:t>个月信用档案中逾期</a:t>
                      </a:r>
                      <a:r>
                        <a:rPr lang="en-US" altLang="zh-CN" sz="1200" u="none" strike="noStrike" dirty="0">
                          <a:effectLst/>
                        </a:rPr>
                        <a:t>60</a:t>
                      </a:r>
                      <a:r>
                        <a:rPr lang="zh-CN" altLang="en-US" sz="1200" u="none" strike="noStrike" dirty="0">
                          <a:effectLst/>
                        </a:rPr>
                        <a:t>天内的违约事件数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789251718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scoring_low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在信用评分系统所属的下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873761201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scoring_hig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在信用评分系统所属的上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607519107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pub_dero_bankrup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公开记录清除的数量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705205321"/>
                  </a:ext>
                </a:extLst>
              </a:tr>
            </a:tbl>
          </a:graphicData>
        </a:graphic>
      </p:graphicFrame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70495486-C13C-4A0A-BD48-1A105ECEAA8A}"/>
              </a:ext>
            </a:extLst>
          </p:cNvPr>
          <p:cNvGraphicFramePr>
            <a:graphicFrameLocks noGrp="1"/>
          </p:cNvGraphicFramePr>
          <p:nvPr/>
        </p:nvGraphicFramePr>
        <p:xfrm>
          <a:off x="562908" y="3533309"/>
          <a:ext cx="4493186" cy="314464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74887">
                  <a:extLst>
                    <a:ext uri="{9D8B030D-6E8A-4147-A177-3AD203B41FA5}">
                      <a16:colId xmlns:a16="http://schemas.microsoft.com/office/drawing/2014/main" val="892795896"/>
                    </a:ext>
                  </a:extLst>
                </a:gridCol>
                <a:gridCol w="3118299">
                  <a:extLst>
                    <a:ext uri="{9D8B030D-6E8A-4147-A177-3AD203B41FA5}">
                      <a16:colId xmlns:a16="http://schemas.microsoft.com/office/drawing/2014/main" val="832540296"/>
                    </a:ext>
                  </a:extLst>
                </a:gridCol>
              </a:tblGrid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提前还款次数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775367793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_amoun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提前还款累积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109730301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early_return_amount_3mo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近</a:t>
                      </a:r>
                      <a:r>
                        <a:rPr lang="en-US" altLang="zh-CN" sz="1200" u="none" strike="noStrike" dirty="0">
                          <a:effectLst/>
                        </a:rPr>
                        <a:t>3</a:t>
                      </a:r>
                      <a:r>
                        <a:rPr lang="zh-CN" altLang="en-US" sz="1200" u="none" strike="noStrike" dirty="0">
                          <a:effectLst/>
                        </a:rPr>
                        <a:t>个月内提前还款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296893454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recircle_bal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信贷周转余额合计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399856531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recircle_util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循环额度利用率，或借款人使用的相对于所有可用循环信贷的信贷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529061640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initial_list_statu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网络贷款的初始列表状态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904525919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earlies_credit_lin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信用额度开立的月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64528906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titl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提供的网络贷款名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733618915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olicy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公开策略</a:t>
                      </a:r>
                      <a:r>
                        <a:rPr lang="en-US" altLang="zh-CN" sz="1200" u="none" strike="noStrike">
                          <a:effectLst/>
                        </a:rPr>
                        <a:t>=1</a:t>
                      </a:r>
                      <a:r>
                        <a:rPr lang="zh-CN" altLang="en-US" sz="1200" u="none" strike="noStrike">
                          <a:effectLst/>
                        </a:rPr>
                        <a:t>不公开策略</a:t>
                      </a:r>
                      <a:r>
                        <a:rPr lang="en-US" altLang="zh-CN" sz="1200" u="none" strike="noStrike">
                          <a:effectLst/>
                        </a:rPr>
                        <a:t>=2</a:t>
                      </a:r>
                      <a:endParaRPr lang="en-US" altLang="zh-CN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4215458456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f</a:t>
                      </a:r>
                      <a:r>
                        <a:rPr lang="zh-CN" altLang="en-US" sz="1200" u="none" strike="noStrike">
                          <a:effectLst/>
                        </a:rPr>
                        <a:t>系列匿名特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匿名特征</a:t>
                      </a:r>
                      <a:r>
                        <a:rPr lang="en-US" altLang="zh-CN" sz="1200" u="none" strike="noStrike" dirty="0">
                          <a:effectLst/>
                        </a:rPr>
                        <a:t>f0-f5</a:t>
                      </a:r>
                      <a:r>
                        <a:rPr lang="zh-CN" altLang="en-US" sz="1200" u="none" strike="noStrike" dirty="0">
                          <a:effectLst/>
                        </a:rPr>
                        <a:t>，为一些网络贷款人行为计数特征的处理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995831904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14040337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dirty="0"/>
              <a:t>学习方法</a:t>
            </a:r>
            <a:endParaRPr dirty="0"/>
          </a:p>
        </p:txBody>
      </p:sp>
      <p:sp>
        <p:nvSpPr>
          <p:cNvPr id="164" name="Content Placeholder 2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altLang="zh-CN" dirty="0"/>
              <a:t>Thinking</a:t>
            </a:r>
            <a:r>
              <a:rPr lang="zh-CN" altLang="zh-CN" dirty="0"/>
              <a:t>：</a:t>
            </a:r>
            <a:r>
              <a:rPr lang="en-US" altLang="zh-CN" dirty="0"/>
              <a:t>behind the theory, original from the real problem</a:t>
            </a:r>
            <a:endParaRPr lang="zh-CN" altLang="zh-CN" dirty="0"/>
          </a:p>
          <a:p>
            <a:r>
              <a:rPr lang="en-US" altLang="zh-CN" dirty="0"/>
              <a:t>Action</a:t>
            </a:r>
            <a:r>
              <a:rPr lang="zh-CN" altLang="zh-CN" dirty="0"/>
              <a:t>：</a:t>
            </a:r>
            <a:r>
              <a:rPr lang="en-US" altLang="zh-CN" dirty="0"/>
              <a:t>solve problems by tools, present the results</a:t>
            </a:r>
            <a:endParaRPr lang="zh-CN" altLang="zh-CN" dirty="0"/>
          </a:p>
          <a:p>
            <a:pPr>
              <a:lnSpc>
                <a:spcPct val="81000"/>
              </a:lnSpc>
            </a:pPr>
            <a:endParaRPr dirty="0"/>
          </a:p>
        </p:txBody>
      </p:sp>
    </p:spTree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2AED13A-748C-422F-B53C-060E6FCF1FB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幻灯片" r:id="rId5" imgW="463" imgH="464" progId="TCLayout.ActiveDocument.1">
                  <p:embed/>
                </p:oleObj>
              </mc:Choice>
              <mc:Fallback>
                <p:oleObj name="think-cell 幻灯片" r:id="rId5" imgW="463" imgH="464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2AED13A-748C-422F-B53C-060E6FCF1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1">
            <a:extLst>
              <a:ext uri="{FF2B5EF4-FFF2-40B4-BE49-F238E27FC236}">
                <a16:creationId xmlns:a16="http://schemas.microsoft.com/office/drawing/2014/main" id="{13FA2AD1-8993-42EA-A7CE-A638805527D2}"/>
              </a:ext>
            </a:extLst>
          </p:cNvPr>
          <p:cNvSpPr txBox="1">
            <a:spLocks/>
          </p:cNvSpPr>
          <p:nvPr/>
        </p:nvSpPr>
        <p:spPr>
          <a:xfrm>
            <a:off x="755555" y="1119442"/>
            <a:ext cx="4515436" cy="49509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70000"/>
              </a:lnSpc>
              <a:buNone/>
            </a:pP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A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、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B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数据集之间存在大量相同的字段和极少的共同用户，用户基本信息与违约行为之间的关联，在不同业务场景中往往都是相似的。因此，我们可以利用</a:t>
            </a:r>
            <a:r>
              <a:rPr lang="zh-CN" altLang="en-US" sz="1600" b="1" dirty="0">
                <a:ea typeface="宋体" panose="02010600030101010101" pitchFamily="2" charset="-122"/>
                <a:sym typeface="+mn-ea"/>
              </a:rPr>
              <a:t>迁移学习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捕捉来自其他业务的，用户基本信息与违约行为之间的关联，帮助实现对用户贷款违约的预测。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选手需要提交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submission.csv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到比赛平台，根据评估得分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AUC)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得到排名。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273C7ED-C5F3-406B-9325-1E145789453C}"/>
              </a:ext>
            </a:extLst>
          </p:cNvPr>
          <p:cNvSpPr txBox="1"/>
          <p:nvPr/>
        </p:nvSpPr>
        <p:spPr>
          <a:xfrm>
            <a:off x="8794992" y="4921008"/>
            <a:ext cx="698016" cy="54445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4045525A-0A16-4DFB-A89F-C875775A70D1}"/>
              </a:ext>
            </a:extLst>
          </p:cNvPr>
          <p:cNvGraphicFramePr>
            <a:graphicFrameLocks noGrp="1"/>
          </p:cNvGraphicFramePr>
          <p:nvPr/>
        </p:nvGraphicFramePr>
        <p:xfrm>
          <a:off x="6964626" y="4203770"/>
          <a:ext cx="3681841" cy="1261690"/>
        </p:xfrm>
        <a:graphic>
          <a:graphicData uri="http://schemas.openxmlformats.org/drawingml/2006/table">
            <a:tbl>
              <a:tblPr/>
              <a:tblGrid>
                <a:gridCol w="2500463">
                  <a:extLst>
                    <a:ext uri="{9D8B030D-6E8A-4147-A177-3AD203B41FA5}">
                      <a16:colId xmlns:a16="http://schemas.microsoft.com/office/drawing/2014/main" val="1201619583"/>
                    </a:ext>
                  </a:extLst>
                </a:gridCol>
                <a:gridCol w="1181378">
                  <a:extLst>
                    <a:ext uri="{9D8B030D-6E8A-4147-A177-3AD203B41FA5}">
                      <a16:colId xmlns:a16="http://schemas.microsoft.com/office/drawing/2014/main" val="2895276173"/>
                    </a:ext>
                  </a:extLst>
                </a:gridCol>
              </a:tblGrid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i="0" dirty="0" err="1">
                          <a:effectLst/>
                        </a:rPr>
                        <a:t>u</a:t>
                      </a:r>
                      <a:r>
                        <a:rPr lang="en-US" sz="1400" b="1" i="0" dirty="0" err="1">
                          <a:effectLst/>
                        </a:rPr>
                        <a:t>serId</a:t>
                      </a:r>
                      <a:endParaRPr lang="en-US" sz="1400" b="1" i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 err="1">
                          <a:effectLst/>
                        </a:rPr>
                        <a:t>isDefault</a:t>
                      </a:r>
                      <a:endParaRPr lang="en-US" sz="1400" b="1" i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336057"/>
                  </a:ext>
                </a:extLst>
              </a:tr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0001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dirty="0">
                          <a:effectLst/>
                        </a:rPr>
                        <a:t>1</a:t>
                      </a:r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4079480"/>
                  </a:ext>
                </a:extLst>
              </a:tr>
              <a:tr h="287442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0002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dirty="0">
                          <a:effectLst/>
                        </a:rPr>
                        <a:t>1</a:t>
                      </a:r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686449"/>
                  </a:ext>
                </a:extLst>
              </a:tr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0003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dirty="0">
                          <a:effectLst/>
                        </a:rPr>
                        <a:t>0</a:t>
                      </a:r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653227"/>
                  </a:ext>
                </a:extLst>
              </a:tr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…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077810"/>
                  </a:ext>
                </a:extLst>
              </a:tr>
            </a:tbl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CCD9B5F8-60B2-49A8-B87C-F87CB06E68F2}"/>
              </a:ext>
            </a:extLst>
          </p:cNvPr>
          <p:cNvSpPr txBox="1"/>
          <p:nvPr/>
        </p:nvSpPr>
        <p:spPr>
          <a:xfrm>
            <a:off x="8979966" y="2092197"/>
            <a:ext cx="19195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其他信用贷产品</a:t>
            </a:r>
            <a:endParaRPr lang="en-US" altLang="zh-CN" dirty="0"/>
          </a:p>
          <a:p>
            <a:pPr algn="ctr"/>
            <a:r>
              <a:rPr lang="zh-CN" altLang="en-US" dirty="0"/>
              <a:t>数据（网络贷款）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35A7A3F-554A-412D-8619-E9FE318E4B1F}"/>
              </a:ext>
            </a:extLst>
          </p:cNvPr>
          <p:cNvSpPr txBox="1"/>
          <p:nvPr/>
        </p:nvSpPr>
        <p:spPr>
          <a:xfrm>
            <a:off x="6011751" y="2092198"/>
            <a:ext cx="19195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银行贷款产品</a:t>
            </a:r>
            <a:endParaRPr lang="en-US" altLang="zh-CN" dirty="0"/>
          </a:p>
          <a:p>
            <a:pPr algn="ctr"/>
            <a:r>
              <a:rPr lang="zh-CN" altLang="en-US" dirty="0"/>
              <a:t>数据</a:t>
            </a:r>
          </a:p>
        </p:txBody>
      </p:sp>
      <p:sp>
        <p:nvSpPr>
          <p:cNvPr id="6" name="箭头: 手杖形 5">
            <a:extLst>
              <a:ext uri="{FF2B5EF4-FFF2-40B4-BE49-F238E27FC236}">
                <a16:creationId xmlns:a16="http://schemas.microsoft.com/office/drawing/2014/main" id="{89D3586F-D5DD-4457-A1D8-16D3DFE17856}"/>
              </a:ext>
            </a:extLst>
          </p:cNvPr>
          <p:cNvSpPr/>
          <p:nvPr/>
        </p:nvSpPr>
        <p:spPr>
          <a:xfrm rot="10800000">
            <a:off x="6868470" y="2732523"/>
            <a:ext cx="3071267" cy="646331"/>
          </a:xfrm>
          <a:prstGeom prst="uturnArrow">
            <a:avLst>
              <a:gd name="adj1" fmla="val 25000"/>
              <a:gd name="adj2" fmla="val 23125"/>
              <a:gd name="adj3" fmla="val 25000"/>
              <a:gd name="adj4" fmla="val 43750"/>
              <a:gd name="adj5" fmla="val 75000"/>
            </a:avLst>
          </a:prstGeom>
          <a:solidFill>
            <a:srgbClr val="FFBC00"/>
          </a:solidFill>
          <a:ln>
            <a:solidFill>
              <a:srgbClr val="FFB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2006C16-B893-4E34-9896-88D96F46A355}"/>
              </a:ext>
            </a:extLst>
          </p:cNvPr>
          <p:cNvSpPr txBox="1"/>
          <p:nvPr/>
        </p:nvSpPr>
        <p:spPr>
          <a:xfrm>
            <a:off x="8138858" y="2871023"/>
            <a:ext cx="1312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ED7D30"/>
                </a:solidFill>
              </a:rPr>
              <a:t>迁移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1DB2CB0-8CC0-4401-8076-F92BD5EEECDB}"/>
              </a:ext>
            </a:extLst>
          </p:cNvPr>
          <p:cNvSpPr txBox="1"/>
          <p:nvPr/>
        </p:nvSpPr>
        <p:spPr>
          <a:xfrm>
            <a:off x="7887572" y="3378853"/>
            <a:ext cx="1312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ED7D30"/>
                </a:solidFill>
              </a:rPr>
              <a:t>特征、关联</a:t>
            </a: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6DDA370C-E0C9-4ABC-848F-73AB3C325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：个贷违约预测</a:t>
            </a: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819792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E8779F8-5863-43A8-B03C-DE81FEF899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712" y="1531194"/>
            <a:ext cx="6396288" cy="3198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17DA5515-15B9-4BC7-9941-24ABB2E5137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幻灯片" r:id="rId7" imgW="501" imgH="502" progId="TCLayout.ActiveDocument.1">
                  <p:embed/>
                </p:oleObj>
              </mc:Choice>
              <mc:Fallback>
                <p:oleObj name="think-cell 幻灯片" r:id="rId7" imgW="501" imgH="502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17DA5515-15B9-4BC7-9941-24ABB2E51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06228" y="1270491"/>
            <a:ext cx="5355557" cy="5587508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b="1" dirty="0">
                <a:ea typeface="宋体" panose="02010600030101010101" pitchFamily="2" charset="-122"/>
                <a:sym typeface="+mn-ea"/>
              </a:rPr>
              <a:t>评价指标 </a:t>
            </a:r>
            <a:r>
              <a:rPr lang="en-US" altLang="zh-CN" sz="1600" b="1" dirty="0">
                <a:ea typeface="宋体" panose="02010600030101010101" pitchFamily="2" charset="-122"/>
                <a:sym typeface="+mn-ea"/>
              </a:rPr>
              <a:t>AUC</a:t>
            </a:r>
            <a:endParaRPr lang="en-US" altLang="zh-CN" sz="1600" b="1" baseline="-250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effectLst/>
              </a:rPr>
              <a:t>本次挑战的是经典的</a:t>
            </a:r>
            <a:r>
              <a:rPr lang="zh-CN" altLang="en-US" sz="1400" dirty="0"/>
              <a:t>预测</a:t>
            </a:r>
            <a:r>
              <a:rPr lang="zh-CN" altLang="en-US" sz="1400" b="0" dirty="0">
                <a:effectLst/>
              </a:rPr>
              <a:t>任务，以</a:t>
            </a:r>
            <a:r>
              <a:rPr lang="en-US" altLang="zh-CN" sz="1400" b="0" dirty="0">
                <a:effectLst/>
              </a:rPr>
              <a:t>AUC</a:t>
            </a:r>
            <a:r>
              <a:rPr lang="zh-CN" altLang="en-US" sz="1400" b="0" dirty="0">
                <a:effectLst/>
              </a:rPr>
              <a:t>作为衡量标准。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effectLst/>
              </a:rPr>
              <a:t>评测指标</a:t>
            </a:r>
            <a:br>
              <a:rPr lang="zh-CN" altLang="en-US" sz="1600" b="0" dirty="0">
                <a:effectLst/>
              </a:rPr>
            </a:b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使用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ROC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曲线下面积</a:t>
            </a:r>
            <a:r>
              <a:rPr lang="en-US" altLang="zh-CN" sz="1600" b="0" dirty="0">
                <a:effectLst/>
              </a:rPr>
              <a:t>AUC</a:t>
            </a:r>
            <a:r>
              <a:rPr lang="zh-CN" altLang="en-US" sz="1600" b="0" dirty="0">
                <a:effectLst/>
              </a:rPr>
              <a:t>（</a:t>
            </a:r>
            <a:r>
              <a:rPr lang="en-US" altLang="zh-CN" sz="1600" b="0" dirty="0">
                <a:effectLst/>
              </a:rPr>
              <a:t>Area Under Curve</a:t>
            </a:r>
            <a:r>
              <a:rPr lang="zh-CN" altLang="en-US" sz="1600" b="0" dirty="0">
                <a:effectLst/>
              </a:rPr>
              <a:t>）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作为评价指标。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AUC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值越大，预测越准确。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A7DD176-DE0E-48B9-B47C-A56136D896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228" y="3632866"/>
            <a:ext cx="5410200" cy="267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8BECC041-7A30-44AA-A486-57775BB12A79}"/>
              </a:ext>
            </a:extLst>
          </p:cNvPr>
          <p:cNvSpPr txBox="1"/>
          <p:nvPr/>
        </p:nvSpPr>
        <p:spPr>
          <a:xfrm>
            <a:off x="223385" y="4971128"/>
            <a:ext cx="10884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True Positive Rate</a:t>
            </a:r>
            <a:endParaRPr lang="zh-CN" altLang="en-US" sz="14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3F453FEF-F92F-4EDD-A51C-F8ED82324755}"/>
              </a:ext>
            </a:extLst>
          </p:cNvPr>
          <p:cNvSpPr txBox="1"/>
          <p:nvPr/>
        </p:nvSpPr>
        <p:spPr>
          <a:xfrm>
            <a:off x="767614" y="6141410"/>
            <a:ext cx="2185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False Positive Rate</a:t>
            </a:r>
            <a:endParaRPr lang="zh-CN" altLang="en-US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43DC7DD-84DB-48FB-AB55-9BE1F413955E}"/>
              </a:ext>
            </a:extLst>
          </p:cNvPr>
          <p:cNvSpPr txBox="1"/>
          <p:nvPr/>
        </p:nvSpPr>
        <p:spPr>
          <a:xfrm>
            <a:off x="6697201" y="4934589"/>
            <a:ext cx="482328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AUC</a:t>
            </a:r>
            <a:r>
              <a:rPr lang="zh-CN" altLang="en-US" sz="1400" dirty="0"/>
              <a:t>值范围为</a:t>
            </a:r>
            <a:r>
              <a:rPr lang="en-US" altLang="zh-CN" sz="1400" dirty="0"/>
              <a:t>[0,1]</a:t>
            </a:r>
            <a:r>
              <a:rPr lang="zh-CN" altLang="en-US" sz="1400" dirty="0"/>
              <a:t>，</a:t>
            </a:r>
            <a:r>
              <a:rPr lang="en-US" altLang="zh-CN" sz="1400" dirty="0"/>
              <a:t>AUC</a:t>
            </a:r>
            <a:r>
              <a:rPr lang="zh-CN" altLang="en-US" sz="1400" dirty="0"/>
              <a:t>值越高，表示二分类的预测结果越令人满意。</a:t>
            </a:r>
            <a:endParaRPr lang="en-US" altLang="zh-CN" sz="1400" dirty="0"/>
          </a:p>
          <a:p>
            <a:r>
              <a:rPr lang="en-US" altLang="zh-CN" sz="1400" dirty="0"/>
              <a:t>AUC = 1 </a:t>
            </a:r>
            <a:r>
              <a:rPr lang="zh-CN" altLang="en-US" sz="1400" dirty="0"/>
              <a:t>时，表明在任何分类阈值下，分类结果都正阳性。</a:t>
            </a:r>
            <a:endParaRPr lang="en-US" altLang="zh-CN" sz="1400" dirty="0"/>
          </a:p>
          <a:p>
            <a:r>
              <a:rPr lang="en-US" altLang="zh-CN" sz="1400" dirty="0"/>
              <a:t>AUC = 0.5 </a:t>
            </a:r>
            <a:r>
              <a:rPr lang="zh-CN" altLang="en-US" sz="1400" dirty="0"/>
              <a:t>时，表明分类结果为完全随机。</a:t>
            </a:r>
            <a:endParaRPr lang="en-US" altLang="zh-CN" sz="1400" dirty="0"/>
          </a:p>
          <a:p>
            <a:r>
              <a:rPr lang="en-US" altLang="zh-CN" sz="1400" dirty="0"/>
              <a:t>AUC &lt; 0.5 </a:t>
            </a:r>
            <a:r>
              <a:rPr lang="zh-CN" altLang="en-US" sz="1400" dirty="0"/>
              <a:t>时，表明分类结果弱于随机结果。</a:t>
            </a:r>
            <a:endParaRPr lang="en-US" altLang="zh-CN" sz="1400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6E4102A-7251-4D9E-8184-95832286B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：个贷违约预测</a:t>
            </a: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3236813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2AED13A-748C-422F-B53C-060E6FCF1FB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幻灯片" r:id="rId5" imgW="463" imgH="464" progId="TCLayout.ActiveDocument.1">
                  <p:embed/>
                </p:oleObj>
              </mc:Choice>
              <mc:Fallback>
                <p:oleObj name="think-cell 幻灯片" r:id="rId5" imgW="463" imgH="464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2AED13A-748C-422F-B53C-060E6FCF1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文本框 12">
            <a:extLst>
              <a:ext uri="{FF2B5EF4-FFF2-40B4-BE49-F238E27FC236}">
                <a16:creationId xmlns:a16="http://schemas.microsoft.com/office/drawing/2014/main" id="{42077495-1685-40D4-94F6-78EB6533BEDF}"/>
              </a:ext>
            </a:extLst>
          </p:cNvPr>
          <p:cNvSpPr txBox="1"/>
          <p:nvPr/>
        </p:nvSpPr>
        <p:spPr>
          <a:xfrm>
            <a:off x="528747" y="1505058"/>
            <a:ext cx="5567253" cy="4199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对算法工作的思考：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dirty="0"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）掌握常用的分类模型 </a:t>
            </a:r>
            <a:r>
              <a:rPr lang="en-US" altLang="zh-CN" dirty="0">
                <a:ea typeface="宋体" panose="02010600030101010101" pitchFamily="2" charset="-122"/>
                <a:sym typeface="+mn-ea"/>
              </a:rPr>
              <a:t>=&gt;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 搭建</a:t>
            </a:r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）能使用特征工程 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=&gt; 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提升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Baselin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构造新特征，特征组合，特征分段等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dirty="0">
                <a:ea typeface="宋体" panose="02010600030101010101" pitchFamily="2" charset="-122"/>
                <a:sym typeface="+mn-ea"/>
              </a:rPr>
              <a:t>3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）尝试多元数据，更大样本量的其他任务 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dirty="0">
                <a:ea typeface="宋体" panose="02010600030101010101" pitchFamily="2" charset="-122"/>
                <a:sym typeface="+mn-ea"/>
              </a:rPr>
              <a:t>=&gt; 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提升</a:t>
            </a:r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</a:p>
          <a:p>
            <a:pPr marL="0" indent="0">
              <a:lnSpc>
                <a:spcPct val="15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这里会遇到很多挑战，比如多元数据是属于其他任务，和本任务的相关性不如其原始数据高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原始数据的数据量少，容易导致特征分段不稳定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96CF6D78-FF68-4B28-A5FE-04A2268E8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000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sz="4000" dirty="0">
                <a:ea typeface="宋体" panose="02010600030101010101" pitchFamily="2" charset="-122"/>
                <a:sym typeface="+mn-ea"/>
              </a:rPr>
              <a:t>：个贷违约预测</a:t>
            </a:r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783DFB8-63C7-4F78-9DC5-37FFD6BC38B0}"/>
              </a:ext>
            </a:extLst>
          </p:cNvPr>
          <p:cNvSpPr txBox="1"/>
          <p:nvPr/>
        </p:nvSpPr>
        <p:spPr>
          <a:xfrm>
            <a:off x="6096001" y="1430352"/>
            <a:ext cx="6096000" cy="3590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Level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常见分类模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70000"/>
              </a:lnSpc>
            </a:pPr>
            <a:r>
              <a:rPr lang="zh-CN" altLang="zh-CN" sz="180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分类算法：LR，Decision Tree，Naive Bayes，SVM，KNN</a:t>
            </a:r>
          </a:p>
          <a:p>
            <a:pPr>
              <a:lnSpc>
                <a:spcPct val="170000"/>
              </a:lnSpc>
            </a:pPr>
            <a:r>
              <a:rPr lang="zh-CN" altLang="zh-CN" sz="180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树模型：</a:t>
            </a:r>
            <a:r>
              <a:rPr lang="en-US" altLang="zh-CN" sz="1800" dirty="0" err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RandomForest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, AdaBoost, </a:t>
            </a:r>
            <a:r>
              <a:rPr lang="zh-CN" altLang="zh-CN" sz="180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BDT，XGBoost，LightGBM，CatBoost，NGBoost</a:t>
            </a:r>
          </a:p>
          <a:p>
            <a:pPr>
              <a:lnSpc>
                <a:spcPct val="170000"/>
              </a:lnSpc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神经网络：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MLP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LSTM</a:t>
            </a:r>
          </a:p>
          <a:p>
            <a:pPr marL="0" indent="0">
              <a:lnSpc>
                <a:spcPct val="150000"/>
              </a:lnSpc>
              <a:buNone/>
            </a:pPr>
            <a:endParaRPr lang="en-US" altLang="zh-CN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选手可以自行选择多种模型进行分类训练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20174395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dirty="0">
                <a:ea typeface="宋体" panose="02010600030101010101" pitchFamily="2" charset="-122"/>
                <a:sym typeface="+mn-ea"/>
              </a:rPr>
              <a:t>机器学习神器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9202420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Gradient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Boosting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集成学习：</a:t>
            </a: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X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GB</a:t>
            </a:r>
            <a:r>
              <a:rPr sz="1600" dirty="0">
                <a:ea typeface="宋体" panose="02010600030101010101" pitchFamily="2" charset="-122"/>
                <a:sym typeface="+mn-ea"/>
              </a:rPr>
              <a:t>oost, 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LightGBM,</a:t>
            </a:r>
            <a:r>
              <a:rPr sz="1600" dirty="0">
                <a:ea typeface="宋体" panose="02010600030101010101" pitchFamily="2" charset="-122"/>
                <a:sym typeface="+mn-ea"/>
              </a:rPr>
              <a:t> 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C</a:t>
            </a:r>
            <a:r>
              <a:rPr sz="1600" dirty="0">
                <a:ea typeface="宋体" panose="02010600030101010101" pitchFamily="2" charset="-122"/>
                <a:sym typeface="+mn-ea"/>
              </a:rPr>
              <a:t>at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B</a:t>
            </a:r>
            <a:r>
              <a:rPr sz="1600" dirty="0">
                <a:ea typeface="宋体" panose="02010600030101010101" pitchFamily="2" charset="-122"/>
                <a:sym typeface="+mn-ea"/>
              </a:rPr>
              <a:t>oost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, NGBoost</a:t>
            </a:r>
            <a:r>
              <a:rPr sz="1600" dirty="0">
                <a:ea typeface="宋体" panose="02010600030101010101" pitchFamily="2" charset="-122"/>
                <a:sym typeface="+mn-ea"/>
              </a:rPr>
              <a:t>实际上是对GBDT方法的不同实现，针对同一目标、做了不同的优化处理</a:t>
            </a:r>
          </a:p>
        </p:txBody>
      </p:sp>
      <p:cxnSp>
        <p:nvCxnSpPr>
          <p:cNvPr id="3" name="直接箭头连接符 2"/>
          <p:cNvCxnSpPr/>
          <p:nvPr/>
        </p:nvCxnSpPr>
        <p:spPr>
          <a:xfrm>
            <a:off x="1277620" y="3505835"/>
            <a:ext cx="9396095" cy="0"/>
          </a:xfrm>
          <a:prstGeom prst="straightConnector1">
            <a:avLst/>
          </a:prstGeom>
          <a:noFill/>
          <a:ln w="38100" cap="flat">
            <a:solidFill>
              <a:schemeClr val="accent1"/>
            </a:solidFill>
            <a:prstDash val="solid"/>
            <a:miter lim="800000"/>
            <a:headEnd type="arrow"/>
            <a:tailEnd type="arrow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" name="直接箭头连接符 3"/>
          <p:cNvCxnSpPr/>
          <p:nvPr/>
        </p:nvCxnSpPr>
        <p:spPr>
          <a:xfrm>
            <a:off x="2096770" y="3492500"/>
            <a:ext cx="9525" cy="669290"/>
          </a:xfrm>
          <a:prstGeom prst="straightConnector1">
            <a:avLst/>
          </a:prstGeom>
          <a:noFill/>
          <a:ln w="19050" cap="flat">
            <a:solidFill>
              <a:schemeClr val="accent1"/>
            </a:solidFill>
            <a:prstDash val="solid"/>
            <a:miter lim="800000"/>
            <a:tailEnd type="arrow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" name="直接箭头连接符 4"/>
          <p:cNvCxnSpPr/>
          <p:nvPr/>
        </p:nvCxnSpPr>
        <p:spPr>
          <a:xfrm>
            <a:off x="6397625" y="3505835"/>
            <a:ext cx="9525" cy="669290"/>
          </a:xfrm>
          <a:prstGeom prst="straightConnector1">
            <a:avLst/>
          </a:prstGeom>
          <a:noFill/>
          <a:ln w="19050" cap="flat">
            <a:solidFill>
              <a:schemeClr val="accent1"/>
            </a:solidFill>
            <a:prstDash val="solid"/>
            <a:miter lim="800000"/>
            <a:tailEnd type="arrow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" name="直接箭头连接符 5"/>
          <p:cNvCxnSpPr/>
          <p:nvPr/>
        </p:nvCxnSpPr>
        <p:spPr>
          <a:xfrm>
            <a:off x="7675880" y="3492500"/>
            <a:ext cx="9525" cy="669290"/>
          </a:xfrm>
          <a:prstGeom prst="straightConnector1">
            <a:avLst/>
          </a:prstGeom>
          <a:noFill/>
          <a:ln w="19050" cap="flat">
            <a:solidFill>
              <a:schemeClr val="accent1"/>
            </a:solidFill>
            <a:prstDash val="solid"/>
            <a:miter lim="800000"/>
            <a:tailEnd type="arrow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直接箭头连接符 6"/>
          <p:cNvCxnSpPr/>
          <p:nvPr/>
        </p:nvCxnSpPr>
        <p:spPr>
          <a:xfrm>
            <a:off x="10191750" y="3505835"/>
            <a:ext cx="9525" cy="669290"/>
          </a:xfrm>
          <a:prstGeom prst="straightConnector1">
            <a:avLst/>
          </a:prstGeom>
          <a:noFill/>
          <a:ln w="19050" cap="flat">
            <a:solidFill>
              <a:schemeClr val="accent1"/>
            </a:solidFill>
            <a:prstDash val="solid"/>
            <a:miter lim="800000"/>
            <a:tailEnd type="arrow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" name="Content Placeholder 2"/>
          <p:cNvSpPr txBox="1">
            <a:spLocks noGrp="1"/>
          </p:cNvSpPr>
          <p:nvPr/>
        </p:nvSpPr>
        <p:spPr>
          <a:xfrm>
            <a:off x="1666875" y="2944495"/>
            <a:ext cx="129286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March, 2014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8" name="Content Placeholder 2"/>
          <p:cNvSpPr txBox="1">
            <a:spLocks noGrp="1"/>
          </p:cNvSpPr>
          <p:nvPr/>
        </p:nvSpPr>
        <p:spPr>
          <a:xfrm>
            <a:off x="5946775" y="2944495"/>
            <a:ext cx="129286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Jan, 2017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9" name="Content Placeholder 2"/>
          <p:cNvSpPr txBox="1">
            <a:spLocks noGrp="1"/>
          </p:cNvSpPr>
          <p:nvPr/>
        </p:nvSpPr>
        <p:spPr>
          <a:xfrm>
            <a:off x="7268210" y="2931160"/>
            <a:ext cx="129286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April, 2017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0" name="Content Placeholder 2"/>
          <p:cNvSpPr txBox="1">
            <a:spLocks noGrp="1"/>
          </p:cNvSpPr>
          <p:nvPr/>
        </p:nvSpPr>
        <p:spPr>
          <a:xfrm>
            <a:off x="9715500" y="2925445"/>
            <a:ext cx="129286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Oct, 2019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1" name="Content Placeholder 2"/>
          <p:cNvSpPr txBox="1">
            <a:spLocks noGrp="1"/>
          </p:cNvSpPr>
          <p:nvPr/>
        </p:nvSpPr>
        <p:spPr>
          <a:xfrm>
            <a:off x="1455420" y="4161790"/>
            <a:ext cx="212090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XGBoost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由陈天奇提出，在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Kaggle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竞赛中大火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2" name="Content Placeholder 2"/>
          <p:cNvSpPr txBox="1">
            <a:spLocks noGrp="1"/>
          </p:cNvSpPr>
          <p:nvPr/>
        </p:nvSpPr>
        <p:spPr>
          <a:xfrm>
            <a:off x="5137785" y="4192905"/>
            <a:ext cx="212090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微软发布了第一个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LightGBM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稳定版本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" name="Content Placeholder 2"/>
          <p:cNvSpPr txBox="1">
            <a:spLocks noGrp="1"/>
          </p:cNvSpPr>
          <p:nvPr/>
        </p:nvSpPr>
        <p:spPr>
          <a:xfrm>
            <a:off x="6992620" y="4172585"/>
            <a:ext cx="212090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Yandex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，俄罗斯科技公司开源了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CatBoost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4" name="Content Placeholder 2"/>
          <p:cNvSpPr txBox="1">
            <a:spLocks noGrp="1"/>
          </p:cNvSpPr>
          <p:nvPr/>
        </p:nvSpPr>
        <p:spPr>
          <a:xfrm>
            <a:off x="9500870" y="4191635"/>
            <a:ext cx="2120900" cy="5613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Stanford 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吴恩达团队提出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NGBoost</a:t>
            </a: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>
                <a:ea typeface="宋体" panose="02010600030101010101" pitchFamily="2" charset="-122"/>
                <a:sym typeface="+mn-ea"/>
              </a:rPr>
              <a:t>XGBoost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385570"/>
            <a:ext cx="569912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XGBoost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：</a:t>
            </a: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目标函数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=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损失函数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+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正则化项</a:t>
            </a: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误差函数尽量拟合训练数据，正则化项鼓励简单的模型</a:t>
            </a:r>
          </a:p>
          <a:p>
            <a:pPr>
              <a:lnSpc>
                <a:spcPct val="150000"/>
              </a:lnSpc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            用于</a:t>
            </a:r>
            <a:r>
              <a:rPr sz="1600" dirty="0">
                <a:ea typeface="宋体" panose="02010600030101010101" pitchFamily="2" charset="-122"/>
                <a:sym typeface="+mn-ea"/>
              </a:rPr>
              <a:t>控制树的复杂度，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防止</a:t>
            </a:r>
            <a:r>
              <a:rPr sz="1600" dirty="0">
                <a:ea typeface="宋体" panose="02010600030101010101" pitchFamily="2" charset="-122"/>
                <a:sym typeface="+mn-ea"/>
              </a:rPr>
              <a:t>过拟合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，使得模型更简化，也使得最终的模型的预测结果更稳定</a:t>
            </a: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8" name="对象 -2147482616"/>
          <p:cNvGraphicFramePr>
            <a:graphicFrameLocks noChangeAspect="1"/>
          </p:cNvGraphicFramePr>
          <p:nvPr/>
        </p:nvGraphicFramePr>
        <p:xfrm>
          <a:off x="1606551" y="2293303"/>
          <a:ext cx="2102485" cy="3321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r:id="rId5" imgW="1384300" imgH="215900" progId="Equation.KSEE3">
                  <p:embed/>
                </p:oleObj>
              </mc:Choice>
              <mc:Fallback>
                <p:oleObj r:id="rId5" imgW="1384300" imgH="215900" progId="Equation.KSEE3">
                  <p:embed/>
                  <p:pic>
                    <p:nvPicPr>
                      <p:cNvPr id="8" name="对象 -2147482616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6551" y="2293303"/>
                        <a:ext cx="2102485" cy="33210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右箭头 10"/>
          <p:cNvSpPr/>
          <p:nvPr/>
        </p:nvSpPr>
        <p:spPr>
          <a:xfrm rot="8160000">
            <a:off x="2345690" y="2602865"/>
            <a:ext cx="421005" cy="274955"/>
          </a:xfrm>
          <a:prstGeom prst="rightArrow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9" tIns="45719" rIns="45719" bIns="45719" numCol="1" spcCol="38100" rtlCol="0" anchor="ctr" forceAA="0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 panose="020F0502020204030204"/>
            </a:endParaRPr>
          </a:p>
        </p:txBody>
      </p:sp>
      <p:sp>
        <p:nvSpPr>
          <p:cNvPr id="3" name="Content Placeholder 2"/>
          <p:cNvSpPr txBox="1">
            <a:spLocks noGrp="1"/>
          </p:cNvSpPr>
          <p:nvPr/>
        </p:nvSpPr>
        <p:spPr>
          <a:xfrm>
            <a:off x="975360" y="2830195"/>
            <a:ext cx="1966595" cy="50609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损失函数：拟合数据</a:t>
            </a:r>
          </a:p>
        </p:txBody>
      </p:sp>
      <p:sp>
        <p:nvSpPr>
          <p:cNvPr id="5" name="Content Placeholder 2"/>
          <p:cNvSpPr txBox="1">
            <a:spLocks noGrp="1"/>
          </p:cNvSpPr>
          <p:nvPr/>
        </p:nvSpPr>
        <p:spPr>
          <a:xfrm>
            <a:off x="3199765" y="2820670"/>
            <a:ext cx="2795905" cy="50609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正则化项：惩罚复杂模型</a:t>
            </a:r>
          </a:p>
        </p:txBody>
      </p:sp>
      <p:sp>
        <p:nvSpPr>
          <p:cNvPr id="6" name="右箭头 5"/>
          <p:cNvSpPr/>
          <p:nvPr/>
        </p:nvSpPr>
        <p:spPr>
          <a:xfrm rot="3180000">
            <a:off x="3285490" y="2602865"/>
            <a:ext cx="421005" cy="274955"/>
          </a:xfrm>
          <a:prstGeom prst="rightArrow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9" tIns="45719" rIns="45719" bIns="45719" numCol="1" spcCol="38100" rtlCol="0" anchor="ctr" forceAA="0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 panose="020F0502020204030204"/>
            </a:endParaRPr>
          </a:p>
        </p:txBody>
      </p:sp>
      <p:pic>
        <p:nvPicPr>
          <p:cNvPr id="10" name="图片 9" descr="XGBoost-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5245" y="2170430"/>
            <a:ext cx="4552950" cy="2857500"/>
          </a:xfrm>
          <a:prstGeom prst="rect">
            <a:avLst/>
          </a:prstGeom>
        </p:spPr>
      </p:pic>
      <p:graphicFrame>
        <p:nvGraphicFramePr>
          <p:cNvPr id="12" name="对象 -2147482616"/>
          <p:cNvGraphicFramePr>
            <a:graphicFrameLocks noChangeAspect="1"/>
          </p:cNvGraphicFramePr>
          <p:nvPr/>
        </p:nvGraphicFramePr>
        <p:xfrm>
          <a:off x="6980873" y="1838643"/>
          <a:ext cx="115824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r:id="rId8" imgW="762000" imgH="241300" progId="Equation.KSEE3">
                  <p:embed/>
                </p:oleObj>
              </mc:Choice>
              <mc:Fallback>
                <p:oleObj r:id="rId8" imgW="762000" imgH="241300" progId="Equation.KSEE3">
                  <p:embed/>
                  <p:pic>
                    <p:nvPicPr>
                      <p:cNvPr id="12" name="对象 -2147482616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980873" y="1838643"/>
                        <a:ext cx="1158240" cy="37147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2"/>
          <p:cNvSpPr txBox="1">
            <a:spLocks noGrp="1"/>
          </p:cNvSpPr>
          <p:nvPr/>
        </p:nvSpPr>
        <p:spPr>
          <a:xfrm>
            <a:off x="8320405" y="1727200"/>
            <a:ext cx="3585210" cy="48323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w 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代表叶子向量，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q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表示树的结构</a:t>
            </a: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16" name="对象 -2147482616"/>
          <p:cNvGraphicFramePr>
            <a:graphicFrameLocks noChangeAspect="1"/>
          </p:cNvGraphicFramePr>
          <p:nvPr/>
        </p:nvGraphicFramePr>
        <p:xfrm>
          <a:off x="1276668" y="4699953"/>
          <a:ext cx="2122170" cy="6838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r:id="rId10" imgW="1397000" imgH="444500" progId="Equation.KSEE3">
                  <p:embed/>
                </p:oleObj>
              </mc:Choice>
              <mc:Fallback>
                <p:oleObj r:id="rId10" imgW="1397000" imgH="444500" progId="Equation.KSEE3">
                  <p:embed/>
                  <p:pic>
                    <p:nvPicPr>
                      <p:cNvPr id="16" name="对象 -2147482616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76668" y="4699953"/>
                        <a:ext cx="2122170" cy="68389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右箭头 17"/>
          <p:cNvSpPr/>
          <p:nvPr/>
        </p:nvSpPr>
        <p:spPr>
          <a:xfrm rot="8160000">
            <a:off x="1795145" y="5219065"/>
            <a:ext cx="421005" cy="274955"/>
          </a:xfrm>
          <a:prstGeom prst="rightArrow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9" tIns="45719" rIns="45719" bIns="45719" numCol="1" spcCol="38100" rtlCol="0" anchor="ctr" forceAA="0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 panose="020F0502020204030204"/>
            </a:endParaRPr>
          </a:p>
        </p:txBody>
      </p:sp>
      <p:sp>
        <p:nvSpPr>
          <p:cNvPr id="19" name="右箭头 18"/>
          <p:cNvSpPr/>
          <p:nvPr/>
        </p:nvSpPr>
        <p:spPr>
          <a:xfrm rot="3180000">
            <a:off x="3237865" y="5215255"/>
            <a:ext cx="421005" cy="274955"/>
          </a:xfrm>
          <a:prstGeom prst="rightArrow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9" tIns="45719" rIns="45719" bIns="45719" numCol="1" spcCol="38100" rtlCol="0" anchor="ctr" forceAA="0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 panose="020F0502020204030204"/>
            </a:endParaRPr>
          </a:p>
        </p:txBody>
      </p:sp>
      <p:sp>
        <p:nvSpPr>
          <p:cNvPr id="20" name="Content Placeholder 2"/>
          <p:cNvSpPr txBox="1">
            <a:spLocks noGrp="1"/>
          </p:cNvSpPr>
          <p:nvPr/>
        </p:nvSpPr>
        <p:spPr>
          <a:xfrm>
            <a:off x="858520" y="5572760"/>
            <a:ext cx="1966595" cy="50609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T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：叶子数量</a:t>
            </a:r>
          </a:p>
        </p:txBody>
      </p:sp>
      <p:sp>
        <p:nvSpPr>
          <p:cNvPr id="21" name="Content Placeholder 2"/>
          <p:cNvSpPr txBox="1">
            <a:spLocks noGrp="1"/>
          </p:cNvSpPr>
          <p:nvPr/>
        </p:nvSpPr>
        <p:spPr>
          <a:xfrm>
            <a:off x="2616200" y="5553710"/>
            <a:ext cx="2795905" cy="50609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wj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叶子分数的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L2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正则项</a:t>
            </a:r>
          </a:p>
        </p:txBody>
      </p:sp>
      <p:graphicFrame>
        <p:nvGraphicFramePr>
          <p:cNvPr id="22" name="对象 -2147482616"/>
          <p:cNvGraphicFramePr>
            <a:graphicFrameLocks noChangeAspect="1"/>
          </p:cNvGraphicFramePr>
          <p:nvPr/>
        </p:nvGraphicFramePr>
        <p:xfrm>
          <a:off x="7791451" y="5110798"/>
          <a:ext cx="2546985" cy="606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r:id="rId12" imgW="1676400" imgH="393700" progId="Equation.KSEE3">
                  <p:embed/>
                </p:oleObj>
              </mc:Choice>
              <mc:Fallback>
                <p:oleObj r:id="rId12" imgW="1676400" imgH="393700" progId="Equation.KSEE3">
                  <p:embed/>
                  <p:pic>
                    <p:nvPicPr>
                      <p:cNvPr id="22" name="对象 -2147482616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7791451" y="5110798"/>
                        <a:ext cx="2546985" cy="6064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对象 -2147482616"/>
          <p:cNvGraphicFramePr>
            <a:graphicFrameLocks noChangeAspect="1"/>
          </p:cNvGraphicFramePr>
          <p:nvPr/>
        </p:nvGraphicFramePr>
        <p:xfrm>
          <a:off x="821373" y="3950336"/>
          <a:ext cx="579120" cy="351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r:id="rId14" imgW="381000" imgH="228600" progId="Equation.KSEE3">
                  <p:embed/>
                </p:oleObj>
              </mc:Choice>
              <mc:Fallback>
                <p:oleObj r:id="rId14" imgW="381000" imgH="228600" progId="Equation.KSEE3">
                  <p:embed/>
                  <p:pic>
                    <p:nvPicPr>
                      <p:cNvPr id="24" name="对象 -2147482616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821373" y="3950336"/>
                        <a:ext cx="579120" cy="35179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对象 -2147482616"/>
          <p:cNvGraphicFramePr>
            <a:graphicFrameLocks noChangeAspect="1"/>
          </p:cNvGraphicFramePr>
          <p:nvPr/>
        </p:nvGraphicFramePr>
        <p:xfrm>
          <a:off x="858203" y="6078538"/>
          <a:ext cx="193040" cy="2546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r:id="rId16" imgW="127000" imgH="165100" progId="Equation.KSEE3">
                  <p:embed/>
                </p:oleObj>
              </mc:Choice>
              <mc:Fallback>
                <p:oleObj r:id="rId16" imgW="127000" imgH="165100" progId="Equation.KSEE3">
                  <p:embed/>
                  <p:pic>
                    <p:nvPicPr>
                      <p:cNvPr id="2" name="对象 -2147482616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858203" y="6078538"/>
                        <a:ext cx="193040" cy="25463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/>
          <p:cNvSpPr txBox="1">
            <a:spLocks noGrp="1"/>
          </p:cNvSpPr>
          <p:nvPr/>
        </p:nvSpPr>
        <p:spPr>
          <a:xfrm>
            <a:off x="956310" y="5926455"/>
            <a:ext cx="3793490" cy="50609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：加入新叶子节点引入的复杂度代价</a:t>
            </a:r>
          </a:p>
        </p:txBody>
      </p:sp>
    </p:spTree>
    <p:custDataLst>
      <p:tags r:id="rId2"/>
    </p:custData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>
                <a:ea typeface="宋体" panose="02010600030101010101" pitchFamily="2" charset="-122"/>
                <a:sym typeface="+mn-ea"/>
              </a:rPr>
              <a:t>LightGBM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9202420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LightGBM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2017年经微软推出，XGBoost的升级版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Kaggle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竞赛使用最多的模型之一，必备机器学习神器</a:t>
            </a: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Light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=&gt; </a:t>
            </a:r>
            <a:r>
              <a:rPr sz="1600" dirty="0">
                <a:ea typeface="宋体" panose="02010600030101010101" pitchFamily="2" charset="-122"/>
                <a:sym typeface="+mn-ea"/>
              </a:rPr>
              <a:t>在大规模数据集上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运行效率更高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GBM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=&gt; Gradient Boosting Machine</a:t>
            </a: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>
                <a:ea typeface="宋体" panose="02010600030101010101" pitchFamily="2" charset="-122"/>
                <a:sym typeface="+mn-ea"/>
              </a:rPr>
              <a:t>LightGBM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269875" y="1452245"/>
            <a:ext cx="625538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sz="1600" dirty="0">
                <a:ea typeface="宋体" panose="02010600030101010101" pitchFamily="2" charset="-122"/>
                <a:sym typeface="+mn-ea"/>
              </a:rPr>
              <a:t>XGBoost模型的复杂度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：</a:t>
            </a:r>
          </a:p>
          <a:p>
            <a:pPr>
              <a:lnSpc>
                <a:spcPct val="150000"/>
              </a:lnSpc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模型复杂度 = 树的棵数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X 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每棵树的叶子数量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X 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每片叶子生成复杂度</a:t>
            </a:r>
          </a:p>
          <a:p>
            <a:pPr>
              <a:lnSpc>
                <a:spcPct val="150000"/>
              </a:lnSpc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每片叶子生成复杂度 = 特征数量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X 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候选分裂点数量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X 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样本的数量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针对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XGBoost</a:t>
            </a:r>
            <a:r>
              <a:rPr lang="zh-CN" altLang="zh-CN" sz="1600" dirty="0">
                <a:ea typeface="宋体" panose="02010600030101010101" pitchFamily="2" charset="-122"/>
                <a:sym typeface="+mn-ea"/>
              </a:rPr>
              <a:t>的优化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Histogram算法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，</a:t>
            </a:r>
            <a:r>
              <a:rPr sz="1600" dirty="0">
                <a:ea typeface="宋体" panose="02010600030101010101" pitchFamily="2" charset="-122"/>
                <a:sym typeface="+mn-ea"/>
              </a:rPr>
              <a:t>直方图算法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=&gt; 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减少候选分裂点数量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GOSS算法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，</a:t>
            </a:r>
            <a:r>
              <a:rPr sz="1600" dirty="0">
                <a:ea typeface="宋体" panose="02010600030101010101" pitchFamily="2" charset="-122"/>
                <a:sym typeface="+mn-ea"/>
              </a:rPr>
              <a:t>基于梯度的单边采样算法 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=&gt; 减少样本的数量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EFB算法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，</a:t>
            </a:r>
            <a:r>
              <a:rPr sz="1600" dirty="0">
                <a:ea typeface="宋体" panose="02010600030101010101" pitchFamily="2" charset="-122"/>
                <a:sym typeface="+mn-ea"/>
              </a:rPr>
              <a:t>互斥特征捆绑算法 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=&gt; 减少特征的数量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LightGBM = XGBoost + Histogram + GOSS + EFB</a:t>
            </a:r>
          </a:p>
          <a:p>
            <a:pPr>
              <a:lnSpc>
                <a:spcPct val="150000"/>
              </a:lnSpc>
            </a:pPr>
            <a:endParaRPr lang="zh-CN" sz="16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3" name="图片 2" descr="lightgbm-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5565" y="1924050"/>
            <a:ext cx="5647690" cy="326199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dirty="0">
                <a:ea typeface="宋体" panose="02010600030101010101" pitchFamily="2" charset="-122"/>
                <a:sym typeface="+mn-ea"/>
              </a:rPr>
              <a:t>参数对比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1304925" y="1072515"/>
          <a:ext cx="10233660" cy="58019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58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84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84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584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xgb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gb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XGBClassifier</a:t>
                      </a:r>
                      <a:r>
                        <a:rPr lang="zh-CN" alt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（</a:t>
                      </a: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xgb.sklearn</a:t>
                      </a:r>
                      <a:r>
                        <a:rPr lang="zh-CN" alt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）</a:t>
                      </a: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GBMClassifier</a:t>
                      </a:r>
                      <a:r>
                        <a:rPr lang="zh-CN" alt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（</a:t>
                      </a: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gb.sklearn</a:t>
                      </a:r>
                      <a:r>
                        <a:rPr lang="zh-CN" alt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）</a:t>
                      </a: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10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booster='gbtree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boosting='gbdt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booster='gbtree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boosting_type='gbdt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64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objective='binary:logistic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application='binary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objective='binary:logistic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objective='binary'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ax_depth=7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um_leaves=2**7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ax_depth=7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um_leaves=2**7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178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ta=0.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earning_rate=0.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earning_rate=0.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earning_rate=0.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um_boost_round=1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um_boost_round=1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_estimators=1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_estimators=1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gamma=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in_split_gain=0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gamma=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in_split_gain=0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in_child_weight=5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in_child_weight=5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in_child_weight=5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in_child_weight=5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ubsample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bagging_fraction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ubsample=1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ubsample=1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273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colsample_bytree=1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feature_fraction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colsample_bytree=1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colsample_bytree=1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alpha=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ambda_l1=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reg_alpha=0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reg_alpha=0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ambda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lambda_l2=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reg_lambda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reg_lambda=0.0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cale_pos_weight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cale_pos_weight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cale_pos_weight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cale_pos_weight=1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seed 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bagging_seed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zh-CN" altLang="en-US" sz="1400"/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zh-CN" altLang="en-US" sz="1400"/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210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feature_fraction_seed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random_state=888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random_state=888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zh-CN" altLang="en-US" sz="1400"/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thread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um_threads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_jobs=4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n_jobs=4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vals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valid_sets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val_set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val_set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val_metric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etric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val_metric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val_metric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9210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arly_stopping_rounds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arly_stopping_rounds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arly_stopping_rounds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early_stopping_rounds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7241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verbose_eval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verbose_eval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verbose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verbose</a:t>
                      </a:r>
                      <a:endParaRPr lang="en-US" altLang="en-US" sz="140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>
                      <a:solidFill>
                        <a:schemeClr val="tx1"/>
                      </a:solidFill>
                      <a:prstDash val="solid"/>
                    </a:lnR>
                    <a:lnT w="12700" cap="flat">
                      <a:solidFill>
                        <a:schemeClr val="tx1"/>
                      </a:solidFill>
                      <a:prstDash val="solid"/>
                    </a:lnT>
                    <a:lnB w="12700" cap="flat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>
                <a:ea typeface="宋体" panose="02010600030101010101" pitchFamily="2" charset="-122"/>
                <a:sym typeface="+mn-ea"/>
              </a:rPr>
              <a:t>CatBoost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595820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CatBoost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算法：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俄罗斯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科技公司</a:t>
            </a:r>
            <a:r>
              <a:rPr sz="1600" dirty="0">
                <a:ea typeface="宋体" panose="02010600030101010101" pitchFamily="2" charset="-122"/>
                <a:sym typeface="+mn-ea"/>
              </a:rPr>
              <a:t>Yandex开源的机器学习库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（</a:t>
            </a:r>
            <a:r>
              <a:rPr sz="1600" dirty="0">
                <a:ea typeface="宋体" panose="02010600030101010101" pitchFamily="2" charset="-122"/>
                <a:sym typeface="+mn-ea"/>
              </a:rPr>
              <a:t>2017年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）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https://arxiv.org/pdf/1706.09516.pdf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CatBoost 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= C</a:t>
            </a:r>
            <a:r>
              <a:rPr sz="1600" dirty="0">
                <a:ea typeface="宋体" panose="02010600030101010101" pitchFamily="2" charset="-122"/>
                <a:sym typeface="+mn-ea"/>
              </a:rPr>
              <a:t>atgorical 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+ B</a:t>
            </a:r>
            <a:r>
              <a:rPr sz="1600" dirty="0">
                <a:ea typeface="宋体" panose="02010600030101010101" pitchFamily="2" charset="-122"/>
                <a:sym typeface="+mn-ea"/>
              </a:rPr>
              <a:t>oost</a:t>
            </a:r>
          </a:p>
          <a:p>
            <a:pPr>
              <a:lnSpc>
                <a:spcPct val="150000"/>
              </a:lnSpc>
            </a:pPr>
            <a:r>
              <a:rPr sz="1600" dirty="0">
                <a:ea typeface="宋体" panose="02010600030101010101" pitchFamily="2" charset="-122"/>
                <a:sym typeface="+mn-ea"/>
              </a:rPr>
              <a:t>高效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的</a:t>
            </a:r>
            <a:r>
              <a:rPr sz="1600" dirty="0">
                <a:ea typeface="宋体" panose="02010600030101010101" pitchFamily="2" charset="-122"/>
                <a:sym typeface="+mn-ea"/>
              </a:rPr>
              <a:t>处理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分类</a:t>
            </a:r>
            <a:r>
              <a:rPr sz="1600" dirty="0">
                <a:ea typeface="宋体" panose="02010600030101010101" pitchFamily="2" charset="-122"/>
                <a:sym typeface="+mn-ea"/>
              </a:rPr>
              <a:t>特征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（</a:t>
            </a:r>
            <a:r>
              <a:rPr sz="1600" dirty="0">
                <a:ea typeface="宋体" panose="02010600030101010101" pitchFamily="2" charset="-122"/>
                <a:sym typeface="+mn-ea"/>
              </a:rPr>
              <a:t>categorical features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）</a:t>
            </a:r>
            <a:r>
              <a:rPr sz="1600" dirty="0">
                <a:ea typeface="宋体" panose="02010600030101010101" pitchFamily="2" charset="-122"/>
                <a:sym typeface="+mn-ea"/>
              </a:rPr>
              <a:t>，首先对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分类特征</a:t>
            </a:r>
            <a:r>
              <a:rPr sz="1600" dirty="0">
                <a:ea typeface="宋体" panose="02010600030101010101" pitchFamily="2" charset="-122"/>
                <a:sym typeface="+mn-ea"/>
              </a:rPr>
              <a:t>做统计，计算某个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分类</a:t>
            </a:r>
            <a:r>
              <a:rPr sz="1600" dirty="0">
                <a:ea typeface="宋体" panose="02010600030101010101" pitchFamily="2" charset="-122"/>
                <a:sym typeface="+mn-ea"/>
              </a:rPr>
              <a:t>特征（category）出现的频率，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然后</a:t>
            </a:r>
            <a:r>
              <a:rPr sz="1600" dirty="0">
                <a:ea typeface="宋体" panose="02010600030101010101" pitchFamily="2" charset="-122"/>
                <a:sym typeface="+mn-ea"/>
              </a:rPr>
              <a:t>加上超参数，生成新的数值型特征（numerical features）</a:t>
            </a:r>
          </a:p>
          <a:p>
            <a:pPr>
              <a:lnSpc>
                <a:spcPct val="150000"/>
              </a:lnSpc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同时</a:t>
            </a:r>
            <a:r>
              <a:rPr sz="1600" dirty="0">
                <a:ea typeface="宋体" panose="02010600030101010101" pitchFamily="2" charset="-122"/>
                <a:sym typeface="+mn-ea"/>
              </a:rPr>
              <a:t>使用组合类别特征，丰富了特征维度</a:t>
            </a:r>
          </a:p>
          <a:p>
            <a:pPr>
              <a:lnSpc>
                <a:spcPct val="150000"/>
              </a:lnSpc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采用的</a:t>
            </a:r>
            <a:r>
              <a:rPr sz="1600" dirty="0">
                <a:ea typeface="宋体" panose="02010600030101010101" pitchFamily="2" charset="-122"/>
                <a:sym typeface="+mn-ea"/>
              </a:rPr>
              <a:t>基模型是对称决策树，算法的参数少、支持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分类</a:t>
            </a:r>
            <a:r>
              <a:rPr sz="1600" dirty="0">
                <a:ea typeface="宋体" panose="02010600030101010101" pitchFamily="2" charset="-122"/>
                <a:sym typeface="+mn-ea"/>
              </a:rPr>
              <a:t>变量</a:t>
            </a:r>
            <a:r>
              <a:rPr lang="zh-CN" sz="1600" dirty="0">
                <a:ea typeface="宋体" panose="02010600030101010101" pitchFamily="2" charset="-122"/>
                <a:sym typeface="+mn-ea"/>
              </a:rPr>
              <a:t>，通过可以防止</a:t>
            </a:r>
            <a:r>
              <a:rPr sz="1600" dirty="0">
                <a:ea typeface="宋体" panose="02010600030101010101" pitchFamily="2" charset="-122"/>
                <a:sym typeface="+mn-ea"/>
              </a:rPr>
              <a:t>过拟合</a:t>
            </a:r>
          </a:p>
          <a:p>
            <a:pPr marL="0" indent="0">
              <a:lnSpc>
                <a:spcPct val="150000"/>
              </a:lnSpc>
              <a:buNone/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6660" y="2724785"/>
            <a:ext cx="2962275" cy="96710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模型调优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76B3698-138D-4191-8EEC-F66652289C16}"/>
              </a:ext>
            </a:extLst>
          </p:cNvPr>
          <p:cNvSpPr txBox="1">
            <a:spLocks noGrp="1"/>
          </p:cNvSpPr>
          <p:nvPr/>
        </p:nvSpPr>
        <p:spPr>
          <a:xfrm>
            <a:off x="705224" y="1166270"/>
            <a:ext cx="5390776" cy="497156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基线模型调优：</a:t>
            </a:r>
            <a:endParaRPr lang="en-US" altLang="zh-CN" sz="18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直接使用 </a:t>
            </a:r>
            <a:r>
              <a:rPr lang="en-US" altLang="zh-CN" sz="18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ightGBM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,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0.822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使用 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065 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poch=10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096 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poch=12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148 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poch=15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02 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poch=20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42 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poch=25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17 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poch=30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</a:p>
          <a:p>
            <a:pPr marL="0" indent="0">
              <a:lnSpc>
                <a:spcPct val="150000"/>
              </a:lnSpc>
              <a:buNone/>
            </a:pPr>
            <a:endParaRPr lang="en-US" altLang="zh-CN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zh-CN" altLang="en-US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6EEAA57-7C3E-4A57-8A61-755645166439}"/>
              </a:ext>
            </a:extLst>
          </p:cNvPr>
          <p:cNvSpPr txBox="1">
            <a:spLocks noGrp="1"/>
          </p:cNvSpPr>
          <p:nvPr/>
        </p:nvSpPr>
        <p:spPr>
          <a:xfrm>
            <a:off x="6209552" y="1158164"/>
            <a:ext cx="5803153" cy="497156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N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和 </a:t>
            </a:r>
            <a:r>
              <a:rPr lang="en-US" altLang="zh-CN" sz="18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ightGBM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相当，如果调整好了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N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模型，可能结果会更好</a:t>
            </a:r>
            <a:endParaRPr lang="en-US" altLang="zh-CN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9B1871C-B26A-4C69-8D02-7B56AD99DB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9552" y="2437718"/>
            <a:ext cx="4481545" cy="347188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7529542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sym typeface="+mn-ea"/>
              </a:rPr>
              <a:t>&gt;&gt;   </a:t>
            </a:r>
            <a:r>
              <a:rPr lang="zh-CN" altLang="en-US" dirty="0">
                <a:sym typeface="+mn-ea"/>
              </a:rPr>
              <a:t>今天的学习目标</a:t>
            </a:r>
            <a:endParaRPr dirty="0"/>
          </a:p>
        </p:txBody>
      </p:sp>
      <p:sp>
        <p:nvSpPr>
          <p:cNvPr id="130" name="Title 1"/>
          <p:cNvSpPr txBox="1">
            <a:spLocks noGrp="1"/>
          </p:cNvSpPr>
          <p:nvPr/>
        </p:nvSpPr>
        <p:spPr>
          <a:xfrm>
            <a:off x="838200" y="1147762"/>
            <a:ext cx="5202382" cy="1325563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sz="4000" dirty="0">
                <a:ea typeface="宋体" panose="02010600030101010101" pitchFamily="2" charset="-122"/>
              </a:rPr>
              <a:t>银行客户认购产品预测</a:t>
            </a:r>
            <a:endParaRPr lang="zh-CN" altLang="zh-CN" sz="4000" dirty="0">
              <a:ea typeface="宋体" panose="02010600030101010101" pitchFamily="2" charset="-122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838200" y="2150745"/>
            <a:ext cx="5066030" cy="477012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rm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hangingPunct="1">
              <a:lnSpc>
                <a:spcPct val="150000"/>
              </a:lnSpc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I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比赛：银行客户认购产品预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r>
              <a:rPr lang="en-US" altLang="zh-CN" sz="1800" dirty="0" err="1">
                <a:ea typeface="宋体" panose="02010600030101010101" pitchFamily="2" charset="-122"/>
                <a:sym typeface="+mn-ea"/>
              </a:rPr>
              <a:t>AutoGlu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使用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在线模型部署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022D97D-1581-4345-A5C7-342636E675CF}"/>
              </a:ext>
            </a:extLst>
          </p:cNvPr>
          <p:cNvSpPr txBox="1">
            <a:spLocks noGrp="1"/>
          </p:cNvSpPr>
          <p:nvPr/>
        </p:nvSpPr>
        <p:spPr>
          <a:xfrm>
            <a:off x="6349538" y="1095115"/>
            <a:ext cx="5202382" cy="1325563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sz="4000" dirty="0">
                <a:ea typeface="宋体" panose="02010600030101010101" pitchFamily="2" charset="-122"/>
              </a:rPr>
              <a:t>个贷违约预测</a:t>
            </a:r>
            <a:endParaRPr lang="zh-CN" altLang="zh-CN" sz="4000" dirty="0">
              <a:ea typeface="宋体" panose="02010600030101010101" pitchFamily="2" charset="-122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C65329C-DA9E-4FC8-AD4E-6A19C06C3119}"/>
              </a:ext>
            </a:extLst>
          </p:cNvPr>
          <p:cNvSpPr txBox="1">
            <a:spLocks noGrp="1"/>
          </p:cNvSpPr>
          <p:nvPr/>
        </p:nvSpPr>
        <p:spPr>
          <a:xfrm>
            <a:off x="6287772" y="2118880"/>
            <a:ext cx="5066030" cy="477012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rm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hangingPunct="1">
              <a:lnSpc>
                <a:spcPct val="150000"/>
              </a:lnSpc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I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比赛：个贷违约预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常见分类模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机器学习神器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神经网络使用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特征重要性查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hangingPunct="1">
              <a:lnSpc>
                <a:spcPct val="150000"/>
              </a:lnSpc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搭建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版本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模型调优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5E13C62-6046-4AA5-AD0D-70C82FA87C1A}"/>
              </a:ext>
            </a:extLst>
          </p:cNvPr>
          <p:cNvSpPr txBox="1">
            <a:spLocks noGrp="1"/>
          </p:cNvSpPr>
          <p:nvPr/>
        </p:nvSpPr>
        <p:spPr>
          <a:xfrm>
            <a:off x="705224" y="1166270"/>
            <a:ext cx="5390776" cy="497156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3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桶式 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3</a:t>
            </a: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层神经网络：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200 – 200 – 200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17 (epoch=25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23 (epoch=30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61 (epoch=35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73 (epoch=40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79 (epoch=45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92 (epoch=50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268 (epoch=55)</a:t>
            </a:r>
          </a:p>
          <a:p>
            <a:pPr marL="0" indent="0">
              <a:lnSpc>
                <a:spcPct val="150000"/>
              </a:lnSpc>
              <a:buNone/>
            </a:pPr>
            <a:endParaRPr lang="en-US" altLang="zh-CN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zh-CN" altLang="en-US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9572AA2-7E6A-41C3-B662-500A1B586B48}"/>
              </a:ext>
            </a:extLst>
          </p:cNvPr>
          <p:cNvSpPr txBox="1">
            <a:spLocks noGrp="1"/>
          </p:cNvSpPr>
          <p:nvPr/>
        </p:nvSpPr>
        <p:spPr>
          <a:xfrm>
            <a:off x="6209552" y="1158164"/>
            <a:ext cx="5803153" cy="497156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8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相比于之前的神经网络，有了提升</a:t>
            </a:r>
            <a:endParaRPr lang="en-US" altLang="zh-CN" sz="18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344D53B-B980-4F8F-8242-0EE4ECA8E0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1324" y="1800783"/>
            <a:ext cx="4514883" cy="44767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8669327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dirty="0">
                <a:ea typeface="宋体" panose="02010600030101010101" pitchFamily="2" charset="-122"/>
                <a:sym typeface="+mn-ea"/>
              </a:rPr>
              <a:t>特征重要性查看</a:t>
            </a: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3578748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特征重要性的价值？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辅助进行特征工程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import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lightgbm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 as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lgb</a:t>
            </a:r>
            <a:endParaRPr 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import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matplotlib.pyplot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 as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plt</a:t>
            </a:r>
            <a:endParaRPr 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fig, ax =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plt.subplots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(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figsize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=(16, 10)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 err="1">
                <a:ea typeface="宋体" panose="02010600030101010101" pitchFamily="2" charset="-122"/>
                <a:sym typeface="+mn-ea"/>
              </a:rPr>
              <a:t>lgb.plot_importance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(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clf_ex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,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max_num_features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=30, ax=ax)</a:t>
            </a:r>
            <a:endParaRPr sz="16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B626EB8-AF38-4FC0-B1DA-028A65235B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2359" y="1392516"/>
            <a:ext cx="8436248" cy="48587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04517135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dirty="0">
                <a:ea typeface="宋体" panose="02010600030101010101" pitchFamily="2" charset="-122"/>
                <a:sym typeface="+mn-ea"/>
              </a:rPr>
              <a:t>特征重要性查看</a:t>
            </a: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4604168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如果特征值很多，如何呈现更适合？</a:t>
            </a:r>
            <a:endParaRPr lang="en-US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转换为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ataFrame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形式，方便后续对比和使用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df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 =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pd.DataFrame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(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df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['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name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'] =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X_train.columns</a:t>
            </a:r>
            <a:endParaRPr 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df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['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importance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']  =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clf_ex.feature_importances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_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df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 = 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df.sort_values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('</a:t>
            </a: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importance',ascending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 = False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 err="1">
                <a:ea typeface="宋体" panose="02010600030101010101" pitchFamily="2" charset="-122"/>
                <a:sym typeface="+mn-ea"/>
              </a:rPr>
              <a:t>feature_df</a:t>
            </a:r>
            <a:endParaRPr sz="16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985452C-D387-435F-BA38-63B8CFBE27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2973" y="1135556"/>
            <a:ext cx="2981347" cy="566265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1A445069-DEA0-4F75-97B9-4277203680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7246" y="1327979"/>
            <a:ext cx="2943247" cy="32099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44697943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基线调优：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Baseline_Version1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直接使用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LightGBM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, AUC = 0.8327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标签编码（针对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employer_type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industry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等）是否可以优化？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plt.rcParam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[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ont.family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] = ['sans-serif']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plt.rcParam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[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ont.sa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-serif'] = [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SimHei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]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#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查看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employer_type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和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is_default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的关系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plt.figure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dpi=150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sns.barplot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x=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employer_type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, y=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is_default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, data=train1_data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plt.show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)</a:t>
            </a: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sz="1600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A90429D-69AA-49DB-8DF1-D6C091461E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531" y="2856753"/>
            <a:ext cx="5551992" cy="370599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205AC6-9944-4766-9EAD-9FC76AB6FD1F}"/>
              </a:ext>
            </a:extLst>
          </p:cNvPr>
          <p:cNvSpPr txBox="1">
            <a:spLocks noGrp="1"/>
          </p:cNvSpPr>
          <p:nvPr/>
        </p:nvSpPr>
        <p:spPr>
          <a:xfrm>
            <a:off x="6464711" y="1455196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#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按照顺序，设置标签编码</a:t>
            </a:r>
            <a:endParaRPr 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 err="1">
                <a:ea typeface="宋体" panose="02010600030101010101" pitchFamily="2" charset="-122"/>
                <a:sym typeface="+mn-ea"/>
              </a:rPr>
              <a:t>emp_type_dict</a:t>
            </a:r>
            <a:r>
              <a:rPr lang="en-US" sz="1600" dirty="0">
                <a:ea typeface="宋体" panose="02010600030101010101" pitchFamily="2" charset="-122"/>
                <a:sym typeface="+mn-ea"/>
              </a:rPr>
              <a:t> = {'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普通企业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: 0, '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上市企业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:1, '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幼教与中小学校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:2, '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世界五百强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:3, '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政府机构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’:4}</a:t>
            </a:r>
          </a:p>
          <a:p>
            <a:pPr marL="0" indent="0">
              <a:lnSpc>
                <a:spcPct val="150000"/>
              </a:lnSpc>
              <a:buNone/>
            </a:pPr>
            <a:endParaRPr sz="16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6254694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5865906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#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针对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ndustry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取值较多的情况，计算不同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ndustry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平均的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_default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ndustry_df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= train1_data.groupby('industry')['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_defaul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].mean().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set_index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(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ndustry_df.sort_values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(by=['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_defaul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], ascending=True)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这种按照顺序的编码方式，要求是什么？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需要对数据集的分布比较稳定，否则可能过拟合，因此我们需要观察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中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1_data, train2_data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的字段分布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发现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ommon_cols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中，有些字段分布差异较大，比如：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mployer_type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industry', 'region', '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y_return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&gt; Baseline_Version2: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使用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ightGBM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349</a:t>
            </a:r>
          </a:p>
          <a:p>
            <a:pPr marL="0" indent="0">
              <a:lnSpc>
                <a:spcPct val="150000"/>
              </a:lnSpc>
              <a:buNone/>
            </a:pPr>
            <a:endParaRPr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5C7D093-887E-4EFD-90DF-93BC603DF9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4686" y="1299493"/>
            <a:ext cx="2705120" cy="39243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4313754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既然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_internet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与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_public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分布存在差异，且两者存在不同的字段，尝试直接使用 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_public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进行训练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&gt; Baseline_Version3: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使用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ightGBM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455</a:t>
            </a: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单表可以达到还不错的成绩，那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_internet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数据如何利用？如何借鉴迁移学习的思想，对模型进行提升？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迁移学习通常应用在深度学习模型中，把预训练模型当做特征提取器，比如在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mageNe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上预训练好的模型，将最后一层全连接层，改成自己的类别数（比如将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lasses=1000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改成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lasses=10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或者把最后一层去掉，改成自己设计的分类器，之前的网络即为特征提取器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63859A4-1124-4E18-BF04-B3FAE3CE1736}"/>
              </a:ext>
            </a:extLst>
          </p:cNvPr>
          <p:cNvSpPr txBox="1">
            <a:spLocks noGrp="1"/>
          </p:cNvSpPr>
          <p:nvPr/>
        </p:nvSpPr>
        <p:spPr>
          <a:xfrm>
            <a:off x="6520329" y="1452245"/>
            <a:ext cx="5593977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通用的解决方案为：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Pre-training + fine-tuning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实际上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产品观点评论中的情感分析，就可以采用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BER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预训练模型，那么对于 结构化数据的预测，如何借鉴？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_public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的不足是什么？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数据量较少，特征工程不稳定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_internet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的优势和不足是什么？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数据量相对较多，特征稳定，但是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_interne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是其他的分类任务，预测任务与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_public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不同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2890174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预测任务可以看成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: Feature Extraction + Classifica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Feature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决定模型的上限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&gt;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特征工程很重要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这里可以利用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_interne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的稳定性洞察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&gt;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提升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_public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特征工程的稳定性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找到分类特征，并对计算分类特征的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ount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虽然很多字段都是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n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类型，实际上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unique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很少，比如只有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10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个，这种情况下可以考虑作为分类特征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63859A4-1124-4E18-BF04-B3FAE3CE1736}"/>
              </a:ext>
            </a:extLst>
          </p:cNvPr>
          <p:cNvSpPr txBox="1">
            <a:spLocks noGrp="1"/>
          </p:cNvSpPr>
          <p:nvPr/>
        </p:nvSpPr>
        <p:spPr>
          <a:xfrm>
            <a:off x="6520329" y="1452245"/>
            <a:ext cx="5593977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at_cols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= []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for col in train2.columns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   if train2[col].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unique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() &lt;= 50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      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at_cols.append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(col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找到分类特征：</a:t>
            </a:r>
            <a:endParaRPr lang="en-US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[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year_of_loan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class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mployer_type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industry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work_year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house_exist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ensor_status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use', 'region', 'del_in_18month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known_outstanding_loan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known_dero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pub_dero_bankrup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nitial_list_status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app_type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policy_code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f0', 'f1', 'f4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y_return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, '</a:t>
            </a:r>
            <a:r>
              <a:rPr lang="en-US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_default</a:t>
            </a: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]</a:t>
            </a:r>
          </a:p>
          <a:p>
            <a:pPr marL="0" indent="0">
              <a:lnSpc>
                <a:spcPct val="150000"/>
              </a:lnSpc>
              <a:buNone/>
            </a:pPr>
            <a:endParaRPr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7021496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45224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#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计算统计特征 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1_df = train1.groupby(col)['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_defaul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'].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agg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(['mean', 'count']).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set_index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(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1_df[col] = train1_df[col].apply(lambda x: col + '_' + str(x)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1_df.columns = ['col', 'train1_default', 'train1_count']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1FEC23A-A3C9-470C-BF79-7F5918603C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9921" y="1559382"/>
            <a:ext cx="5919201" cy="33592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8600530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23709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对不稳定的分类特征，进行合并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针对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class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字段，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2_public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中，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4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、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5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、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6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的个数较少，且</a:t>
            </a:r>
            <a:r>
              <a:rPr lang="en-US" altLang="zh-CN" sz="16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is_default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较高（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rain1_default, train2_default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均符合），可以将 </a:t>
            </a:r>
            <a:r>
              <a:rPr lang="en-US" altLang="zh-CN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class=4, 5, 6 </a:t>
            </a:r>
            <a:r>
              <a:rPr lang="zh-CN" altLang="en-US" sz="16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进行合并</a:t>
            </a:r>
            <a:endParaRPr lang="en-US" altLang="zh-CN" sz="16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# class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字段：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4,5,6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合并为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4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def f(x)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   if x &gt;=4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       return 4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   return x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_train2['class'] = X_train2['class'].apply(f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_te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['class'] =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_te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['class'].apply(f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_te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['class'].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value_counts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()</a:t>
            </a: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63859A4-1124-4E18-BF04-B3FAE3CE1736}"/>
              </a:ext>
            </a:extLst>
          </p:cNvPr>
          <p:cNvSpPr txBox="1">
            <a:spLocks noGrp="1"/>
          </p:cNvSpPr>
          <p:nvPr/>
        </p:nvSpPr>
        <p:spPr>
          <a:xfrm>
            <a:off x="6520329" y="1452245"/>
            <a:ext cx="5593977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Baseline_Version3-1: Score = 0.8528</a:t>
            </a:r>
          </a:p>
          <a:p>
            <a:pPr marL="0" indent="0">
              <a:lnSpc>
                <a:spcPct val="150000"/>
              </a:lnSpc>
              <a:buNone/>
            </a:pPr>
            <a:endParaRPr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067FC29-08D7-47FC-BC51-EA7F32785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9024" y="2083353"/>
            <a:ext cx="5476915" cy="19621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5851121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23709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其他尝试：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连续特征离散化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特征交叉组合，比如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利息总数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pro = interest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*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year_of_loan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平均每年贷款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oan_year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otal_loan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/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year_of_loan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提前还款比例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y_ratio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y_return_amoun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/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otal_loan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年均提前还款次数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y_times_ratio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y_return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/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year_of_loan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信贷周转余额率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circle_ratio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circle_bal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/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otal_loan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信贷循环额度使用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circle_am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 =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circle_util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*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otal_loan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63859A4-1124-4E18-BF04-B3FAE3CE1736}"/>
              </a:ext>
            </a:extLst>
          </p:cNvPr>
          <p:cNvSpPr txBox="1">
            <a:spLocks noGrp="1"/>
          </p:cNvSpPr>
          <p:nvPr/>
        </p:nvSpPr>
        <p:spPr>
          <a:xfrm>
            <a:off x="6520329" y="1452245"/>
            <a:ext cx="5593977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3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使用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GBoo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atBoo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, AdaBoost, RF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等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4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使用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5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不同模型之间的融合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6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五折交叉验证融合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7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缺失值补全策略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a-DK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pub_dero_bankrup, f0, f1, f2, f3, f4</a:t>
            </a:r>
            <a:r>
              <a:rPr lang="zh-CN" altLang="da-DK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等字段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8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分类特征与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_defaul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之间的交叉特征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比如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gion_default_mean,region_default_std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等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更多其他探索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351777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/>
          <p:cNvSpPr/>
          <p:nvPr/>
        </p:nvSpPr>
        <p:spPr>
          <a:xfrm>
            <a:off x="321564" y="320039"/>
            <a:ext cx="11548872" cy="6217922"/>
          </a:xfrm>
          <a:prstGeom prst="rect">
            <a:avLst/>
          </a:prstGeom>
          <a:solidFill>
            <a:srgbClr val="000000">
              <a:alpha val="12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4" name="Title 1"/>
          <p:cNvSpPr txBox="1">
            <a:spLocks noGrp="1"/>
          </p:cNvSpPr>
          <p:nvPr>
            <p:ph type="ctrTitle"/>
          </p:nvPr>
        </p:nvSpPr>
        <p:spPr>
          <a:xfrm>
            <a:off x="4380588" y="965198"/>
            <a:ext cx="7290481" cy="4927603"/>
          </a:xfrm>
          <a:prstGeom prst="rect">
            <a:avLst/>
          </a:prstGeom>
        </p:spPr>
        <p:txBody>
          <a:bodyPr anchor="ctr"/>
          <a:lstStyle/>
          <a:p>
            <a:pPr algn="l">
              <a:defRPr sz="5400">
                <a:solidFill>
                  <a:srgbClr val="C00000"/>
                </a:solidFill>
              </a:defRPr>
            </a:pPr>
            <a:r>
              <a:rPr lang="en-US" sz="4800" dirty="0"/>
              <a:t>1</a:t>
            </a:r>
            <a:r>
              <a:rPr lang="en-US" altLang="zh-CN" sz="4800" dirty="0"/>
              <a:t>/2</a:t>
            </a:r>
            <a:r>
              <a:rPr lang="zh-CN" altLang="en-US" sz="4800" dirty="0"/>
              <a:t> 银行客户认购产品预测</a:t>
            </a:r>
            <a:endParaRPr lang="zh-CN" altLang="en-US" sz="4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5" name="Straight Connector 8"/>
          <p:cNvSpPr/>
          <p:nvPr/>
        </p:nvSpPr>
        <p:spPr>
          <a:xfrm flipH="1">
            <a:off x="4055891" y="2057399"/>
            <a:ext cx="1" cy="2743201"/>
          </a:xfrm>
          <a:prstGeom prst="line">
            <a:avLst/>
          </a:prstGeom>
          <a:ln w="19050">
            <a:solidFill>
              <a:srgbClr val="262626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94453575"/>
      </p:ext>
    </p:extLst>
  </p:cSld>
  <p:clrMapOvr>
    <a:masterClrMapping/>
  </p:clrMapOvr>
  <p:transition spd="med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Baseline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基线调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23709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使用单表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_public.csv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进行训练：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tep1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数据预处理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对字段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ies_credit_mon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进行还原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rain2, tes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计算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earlies_credit_mon_diff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sue_date_diff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计算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sue_earlies_diff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tep2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使用不同模型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GBoo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Score = 0.8811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ightGBM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Score = 0.8558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GB + LGB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融合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core = 0.8770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atBoo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Score = 0.8892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&gt;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atBoos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预测效果好，优势在于类别特征的处理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63859A4-1124-4E18-BF04-B3FAE3CE1736}"/>
              </a:ext>
            </a:extLst>
          </p:cNvPr>
          <p:cNvSpPr txBox="1">
            <a:spLocks noGrp="1"/>
          </p:cNvSpPr>
          <p:nvPr/>
        </p:nvSpPr>
        <p:spPr>
          <a:xfrm>
            <a:off x="6030259" y="1243070"/>
            <a:ext cx="6084047" cy="424930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关于类别特征的处理：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针对类别型特征基数比较低（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ow-cardinality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特征的唯一值个数较少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&gt;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使用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One-ho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编码进行转换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One-ho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编码可以在数据预处理时完成，也可以在模型训练时完成，从训练时间的角度，后种方法的实现更为高效，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atBoos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采用后者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针对高基数类别型特征（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high cardinality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，比如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user ID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方法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：折中方法是将类别分组成有限个的群体，再进行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One-hot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方法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：根据目标变量统计（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arget Statistics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）进行分组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目标变量统计用于估算每个类别的目标变量期望值，有时也可以直接用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S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作为一个新的数值型变量来代替原来的类别型变量（这种也是有效的、信息损失最小的处理类别型特征的方法）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109832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altLang="en-US" dirty="0">
                <a:ea typeface="宋体" panose="02010600030101010101" pitchFamily="2" charset="-122"/>
                <a:sym typeface="+mn-ea"/>
              </a:rPr>
              <a:t>常见问题</a:t>
            </a:r>
            <a:endParaRPr lang="en-US" altLang="zh-CN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237095"/>
            <a:ext cx="5921524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个贷违约预测：</a:t>
            </a: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违约预测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AUC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会在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[0.8, 0.9]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之间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没有超过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0.9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可能是因为存在缺失字段，比如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alary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而该字段对于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is_default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有一定帮助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平时在工作中，如果发现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AUC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较低，通常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&lt;0.8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时，可以考虑是缺失关键特征</a:t>
            </a: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追求比分的同时，还需要注重 相对泛化的解决方案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如果过多追求某个数据集上的表现，可能会造成过拟合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工作中，更希望有一定泛化能力的模型</a:t>
            </a:r>
          </a:p>
          <a:p>
            <a:pPr marL="0" indent="0">
              <a:lnSpc>
                <a:spcPct val="150000"/>
              </a:lnSpc>
              <a:buNone/>
            </a:pPr>
            <a:endParaRPr lang="zh-CN" altLang="en-US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6036370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Summary</a:t>
            </a: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598805" y="1237095"/>
            <a:ext cx="5497195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金融科技领域：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机器学习使用较多，比如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XGBoo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LightGBM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等，注重特征的可解释性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评分卡模型是模型可解释性的重要工具之一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如果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AUC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没有达到预期，或者存在一定不好找的规律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=&gt;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可能缺失某些重要特征，比如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alary 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或者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salary_grade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63859A4-1124-4E18-BF04-B3FAE3CE1736}"/>
              </a:ext>
            </a:extLst>
          </p:cNvPr>
          <p:cNvSpPr txBox="1">
            <a:spLocks noGrp="1"/>
          </p:cNvSpPr>
          <p:nvPr/>
        </p:nvSpPr>
        <p:spPr>
          <a:xfrm>
            <a:off x="6520329" y="1452245"/>
            <a:ext cx="5593977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神经网络用于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LP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V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，推荐系统领域较多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比如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ER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命名实体识别，票据印章识别等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NLP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常用模型：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TFIDF+XGBoos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, LSTM, BERT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CV</a:t>
            </a: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常用模型：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ResNet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, Yolo, Faster-RCN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推荐系统模型：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Wide &amp; Deep, </a:t>
            </a:r>
            <a:r>
              <a:rPr lang="en-US" altLang="zh-CN" sz="1600" dirty="0" err="1">
                <a:solidFill>
                  <a:schemeClr val="tx1"/>
                </a:solidFill>
                <a:ea typeface="宋体" panose="02010600030101010101" pitchFamily="2" charset="-122"/>
                <a:sym typeface="+mn-ea"/>
              </a:rPr>
              <a:t>DeepFM</a:t>
            </a:r>
            <a:endParaRPr lang="en-US" altLang="zh-CN"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50000"/>
              </a:lnSpc>
              <a:buNone/>
            </a:pPr>
            <a:endParaRPr sz="1600" dirty="0">
              <a:solidFill>
                <a:schemeClr val="tx1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7" name="object 34">
            <a:extLst>
              <a:ext uri="{FF2B5EF4-FFF2-40B4-BE49-F238E27FC236}">
                <a16:creationId xmlns:a16="http://schemas.microsoft.com/office/drawing/2014/main" id="{B21E3B4B-F100-42C8-8713-2CA6BE9E5074}"/>
              </a:ext>
            </a:extLst>
          </p:cNvPr>
          <p:cNvSpPr/>
          <p:nvPr/>
        </p:nvSpPr>
        <p:spPr>
          <a:xfrm>
            <a:off x="1829921" y="4334510"/>
            <a:ext cx="8036560" cy="1917700"/>
          </a:xfrm>
          <a:custGeom>
            <a:avLst/>
            <a:gdLst/>
            <a:ahLst/>
            <a:cxnLst/>
            <a:rect l="l" t="t" r="r" b="b"/>
            <a:pathLst>
              <a:path w="8446135" h="1917700">
                <a:moveTo>
                  <a:pt x="0" y="1917192"/>
                </a:moveTo>
                <a:lnTo>
                  <a:pt x="8446008" y="1917192"/>
                </a:lnTo>
                <a:lnTo>
                  <a:pt x="8446008" y="0"/>
                </a:lnTo>
                <a:lnTo>
                  <a:pt x="0" y="0"/>
                </a:lnTo>
                <a:lnTo>
                  <a:pt x="0" y="1917192"/>
                </a:lnTo>
                <a:close/>
              </a:path>
            </a:pathLst>
          </a:custGeom>
          <a:solidFill>
            <a:srgbClr val="404040">
              <a:alpha val="1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35">
            <a:extLst>
              <a:ext uri="{FF2B5EF4-FFF2-40B4-BE49-F238E27FC236}">
                <a16:creationId xmlns:a16="http://schemas.microsoft.com/office/drawing/2014/main" id="{83807C59-456E-4CDD-AC60-FCB36BF39C3E}"/>
              </a:ext>
            </a:extLst>
          </p:cNvPr>
          <p:cNvSpPr/>
          <p:nvPr/>
        </p:nvSpPr>
        <p:spPr>
          <a:xfrm>
            <a:off x="5494124" y="4411979"/>
            <a:ext cx="2052955" cy="525780"/>
          </a:xfrm>
          <a:custGeom>
            <a:avLst/>
            <a:gdLst/>
            <a:ahLst/>
            <a:cxnLst/>
            <a:rect l="l" t="t" r="r" b="b"/>
            <a:pathLst>
              <a:path w="2052954" h="525779">
                <a:moveTo>
                  <a:pt x="1965198" y="0"/>
                </a:moveTo>
                <a:lnTo>
                  <a:pt x="87630" y="0"/>
                </a:lnTo>
                <a:lnTo>
                  <a:pt x="53524" y="6887"/>
                </a:lnTo>
                <a:lnTo>
                  <a:pt x="25669" y="25669"/>
                </a:lnTo>
                <a:lnTo>
                  <a:pt x="6887" y="53524"/>
                </a:lnTo>
                <a:lnTo>
                  <a:pt x="0" y="87630"/>
                </a:lnTo>
                <a:lnTo>
                  <a:pt x="0" y="438150"/>
                </a:lnTo>
                <a:lnTo>
                  <a:pt x="6887" y="472255"/>
                </a:lnTo>
                <a:lnTo>
                  <a:pt x="25669" y="500110"/>
                </a:lnTo>
                <a:lnTo>
                  <a:pt x="53524" y="518892"/>
                </a:lnTo>
                <a:lnTo>
                  <a:pt x="87630" y="525780"/>
                </a:lnTo>
                <a:lnTo>
                  <a:pt x="1965198" y="525780"/>
                </a:lnTo>
                <a:lnTo>
                  <a:pt x="1999303" y="518892"/>
                </a:lnTo>
                <a:lnTo>
                  <a:pt x="2027158" y="500110"/>
                </a:lnTo>
                <a:lnTo>
                  <a:pt x="2045940" y="472255"/>
                </a:lnTo>
                <a:lnTo>
                  <a:pt x="2052828" y="438150"/>
                </a:lnTo>
                <a:lnTo>
                  <a:pt x="2052828" y="87630"/>
                </a:lnTo>
                <a:lnTo>
                  <a:pt x="2045940" y="53524"/>
                </a:lnTo>
                <a:lnTo>
                  <a:pt x="2027158" y="25669"/>
                </a:lnTo>
                <a:lnTo>
                  <a:pt x="1999303" y="6887"/>
                </a:lnTo>
                <a:lnTo>
                  <a:pt x="1965198" y="0"/>
                </a:lnTo>
                <a:close/>
              </a:path>
            </a:pathLst>
          </a:custGeom>
          <a:solidFill>
            <a:srgbClr val="FF5F7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36">
            <a:extLst>
              <a:ext uri="{FF2B5EF4-FFF2-40B4-BE49-F238E27FC236}">
                <a16:creationId xmlns:a16="http://schemas.microsoft.com/office/drawing/2014/main" id="{EB73B062-BE16-4694-9FC0-5AC16E5292B1}"/>
              </a:ext>
            </a:extLst>
          </p:cNvPr>
          <p:cNvSpPr txBox="1"/>
          <p:nvPr/>
        </p:nvSpPr>
        <p:spPr>
          <a:xfrm>
            <a:off x="6277715" y="4548885"/>
            <a:ext cx="116586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&lt;400</a:t>
            </a:r>
            <a:r>
              <a:rPr sz="1400" spc="-7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sz="140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(高风</a:t>
            </a:r>
            <a:r>
              <a:rPr sz="1400" spc="-5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险</a:t>
            </a:r>
            <a:r>
              <a:rPr sz="140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)</a:t>
            </a:r>
            <a:endParaRPr sz="140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0" name="object 37">
            <a:extLst>
              <a:ext uri="{FF2B5EF4-FFF2-40B4-BE49-F238E27FC236}">
                <a16:creationId xmlns:a16="http://schemas.microsoft.com/office/drawing/2014/main" id="{962FC0FB-E229-4CB7-9F1E-8D7D9D297D75}"/>
              </a:ext>
            </a:extLst>
          </p:cNvPr>
          <p:cNvSpPr/>
          <p:nvPr/>
        </p:nvSpPr>
        <p:spPr>
          <a:xfrm>
            <a:off x="5492600" y="5024628"/>
            <a:ext cx="2052955" cy="524510"/>
          </a:xfrm>
          <a:custGeom>
            <a:avLst/>
            <a:gdLst/>
            <a:ahLst/>
            <a:cxnLst/>
            <a:rect l="l" t="t" r="r" b="b"/>
            <a:pathLst>
              <a:path w="2052954" h="524510">
                <a:moveTo>
                  <a:pt x="1965452" y="0"/>
                </a:moveTo>
                <a:lnTo>
                  <a:pt x="87375" y="0"/>
                </a:lnTo>
                <a:lnTo>
                  <a:pt x="53363" y="6865"/>
                </a:lnTo>
                <a:lnTo>
                  <a:pt x="25590" y="25590"/>
                </a:lnTo>
                <a:lnTo>
                  <a:pt x="6865" y="53363"/>
                </a:lnTo>
                <a:lnTo>
                  <a:pt x="0" y="87376"/>
                </a:lnTo>
                <a:lnTo>
                  <a:pt x="0" y="436880"/>
                </a:lnTo>
                <a:lnTo>
                  <a:pt x="6865" y="470892"/>
                </a:lnTo>
                <a:lnTo>
                  <a:pt x="25590" y="498665"/>
                </a:lnTo>
                <a:lnTo>
                  <a:pt x="53363" y="517390"/>
                </a:lnTo>
                <a:lnTo>
                  <a:pt x="87375" y="524256"/>
                </a:lnTo>
                <a:lnTo>
                  <a:pt x="1965452" y="524256"/>
                </a:lnTo>
                <a:lnTo>
                  <a:pt x="1999464" y="517390"/>
                </a:lnTo>
                <a:lnTo>
                  <a:pt x="2027237" y="498665"/>
                </a:lnTo>
                <a:lnTo>
                  <a:pt x="2045962" y="470892"/>
                </a:lnTo>
                <a:lnTo>
                  <a:pt x="2052828" y="436880"/>
                </a:lnTo>
                <a:lnTo>
                  <a:pt x="2052828" y="87376"/>
                </a:lnTo>
                <a:lnTo>
                  <a:pt x="2045962" y="53363"/>
                </a:lnTo>
                <a:lnTo>
                  <a:pt x="2027237" y="25590"/>
                </a:lnTo>
                <a:lnTo>
                  <a:pt x="1999464" y="6865"/>
                </a:lnTo>
                <a:lnTo>
                  <a:pt x="1965452" y="0"/>
                </a:lnTo>
                <a:close/>
              </a:path>
            </a:pathLst>
          </a:custGeom>
          <a:solidFill>
            <a:srgbClr val="EDC2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38">
            <a:extLst>
              <a:ext uri="{FF2B5EF4-FFF2-40B4-BE49-F238E27FC236}">
                <a16:creationId xmlns:a16="http://schemas.microsoft.com/office/drawing/2014/main" id="{5CE8F236-CF91-46E7-908D-E0A9D850BD78}"/>
              </a:ext>
            </a:extLst>
          </p:cNvPr>
          <p:cNvSpPr txBox="1"/>
          <p:nvPr/>
        </p:nvSpPr>
        <p:spPr>
          <a:xfrm>
            <a:off x="5806291" y="5161026"/>
            <a:ext cx="163639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[400,600](一般</a:t>
            </a:r>
            <a:r>
              <a:rPr sz="1400" spc="-15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风</a:t>
            </a:r>
            <a:r>
              <a:rPr sz="140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险)</a:t>
            </a:r>
            <a:endParaRPr sz="140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2" name="object 39">
            <a:extLst>
              <a:ext uri="{FF2B5EF4-FFF2-40B4-BE49-F238E27FC236}">
                <a16:creationId xmlns:a16="http://schemas.microsoft.com/office/drawing/2014/main" id="{28078D5C-C150-4A3A-B99C-754F88CF5981}"/>
              </a:ext>
            </a:extLst>
          </p:cNvPr>
          <p:cNvSpPr/>
          <p:nvPr/>
        </p:nvSpPr>
        <p:spPr>
          <a:xfrm>
            <a:off x="5488029" y="5637276"/>
            <a:ext cx="2052955" cy="524510"/>
          </a:xfrm>
          <a:custGeom>
            <a:avLst/>
            <a:gdLst/>
            <a:ahLst/>
            <a:cxnLst/>
            <a:rect l="l" t="t" r="r" b="b"/>
            <a:pathLst>
              <a:path w="2052954" h="524510">
                <a:moveTo>
                  <a:pt x="1965452" y="0"/>
                </a:moveTo>
                <a:lnTo>
                  <a:pt x="87375" y="0"/>
                </a:lnTo>
                <a:lnTo>
                  <a:pt x="53363" y="6865"/>
                </a:lnTo>
                <a:lnTo>
                  <a:pt x="25590" y="25590"/>
                </a:lnTo>
                <a:lnTo>
                  <a:pt x="6865" y="53363"/>
                </a:lnTo>
                <a:lnTo>
                  <a:pt x="0" y="87376"/>
                </a:lnTo>
                <a:lnTo>
                  <a:pt x="0" y="436880"/>
                </a:lnTo>
                <a:lnTo>
                  <a:pt x="6865" y="470892"/>
                </a:lnTo>
                <a:lnTo>
                  <a:pt x="25590" y="498665"/>
                </a:lnTo>
                <a:lnTo>
                  <a:pt x="53363" y="517390"/>
                </a:lnTo>
                <a:lnTo>
                  <a:pt x="87375" y="524256"/>
                </a:lnTo>
                <a:lnTo>
                  <a:pt x="1965452" y="524256"/>
                </a:lnTo>
                <a:lnTo>
                  <a:pt x="1999464" y="517390"/>
                </a:lnTo>
                <a:lnTo>
                  <a:pt x="2027237" y="498665"/>
                </a:lnTo>
                <a:lnTo>
                  <a:pt x="2045962" y="470892"/>
                </a:lnTo>
                <a:lnTo>
                  <a:pt x="2052827" y="436880"/>
                </a:lnTo>
                <a:lnTo>
                  <a:pt x="2052827" y="87376"/>
                </a:lnTo>
                <a:lnTo>
                  <a:pt x="2045962" y="53363"/>
                </a:lnTo>
                <a:lnTo>
                  <a:pt x="2027237" y="25590"/>
                </a:lnTo>
                <a:lnTo>
                  <a:pt x="1999464" y="6865"/>
                </a:lnTo>
                <a:lnTo>
                  <a:pt x="1965452" y="0"/>
                </a:lnTo>
                <a:close/>
              </a:path>
            </a:pathLst>
          </a:custGeom>
          <a:solidFill>
            <a:srgbClr val="0094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0">
            <a:extLst>
              <a:ext uri="{FF2B5EF4-FFF2-40B4-BE49-F238E27FC236}">
                <a16:creationId xmlns:a16="http://schemas.microsoft.com/office/drawing/2014/main" id="{89BC20D2-5252-4770-BD6F-A50F4E7D90F4}"/>
              </a:ext>
            </a:extLst>
          </p:cNvPr>
          <p:cNvSpPr txBox="1"/>
          <p:nvPr/>
        </p:nvSpPr>
        <p:spPr>
          <a:xfrm>
            <a:off x="6271365" y="5773623"/>
            <a:ext cx="116522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&gt;600</a:t>
            </a:r>
            <a:r>
              <a:rPr sz="1400" spc="-75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sz="1400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(好用户)</a:t>
            </a:r>
            <a:endParaRPr sz="140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4" name="object 41">
            <a:extLst>
              <a:ext uri="{FF2B5EF4-FFF2-40B4-BE49-F238E27FC236}">
                <a16:creationId xmlns:a16="http://schemas.microsoft.com/office/drawing/2014/main" id="{B7F2771B-6251-45D4-91FF-CE9950E4DFF9}"/>
              </a:ext>
            </a:extLst>
          </p:cNvPr>
          <p:cNvSpPr/>
          <p:nvPr/>
        </p:nvSpPr>
        <p:spPr>
          <a:xfrm>
            <a:off x="8670140" y="4747259"/>
            <a:ext cx="586740" cy="1056131"/>
          </a:xfrm>
          <a:prstGeom prst="rect">
            <a:avLst/>
          </a:prstGeom>
          <a:blipFill>
            <a:blip r:embed="rId4" cstate="email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42">
            <a:extLst>
              <a:ext uri="{FF2B5EF4-FFF2-40B4-BE49-F238E27FC236}">
                <a16:creationId xmlns:a16="http://schemas.microsoft.com/office/drawing/2014/main" id="{EFD1A3BA-2B56-41A3-86A0-757D68C1F5D6}"/>
              </a:ext>
            </a:extLst>
          </p:cNvPr>
          <p:cNvSpPr txBox="1"/>
          <p:nvPr/>
        </p:nvSpPr>
        <p:spPr>
          <a:xfrm>
            <a:off x="7784951" y="4912309"/>
            <a:ext cx="72644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404040"/>
                </a:solidFill>
                <a:latin typeface="Microsoft YaHei UI" panose="020B0503020204020204" charset="-122"/>
                <a:cs typeface="Microsoft YaHei UI" panose="020B0503020204020204" charset="-122"/>
              </a:rPr>
              <a:t>风险评分</a:t>
            </a:r>
            <a:endParaRPr sz="1400">
              <a:latin typeface="Microsoft YaHei UI" panose="020B0503020204020204" charset="-122"/>
              <a:cs typeface="Microsoft YaHei UI" panose="020B0503020204020204" charset="-122"/>
            </a:endParaRPr>
          </a:p>
        </p:txBody>
      </p:sp>
      <p:sp>
        <p:nvSpPr>
          <p:cNvPr id="16" name="object 43">
            <a:extLst>
              <a:ext uri="{FF2B5EF4-FFF2-40B4-BE49-F238E27FC236}">
                <a16:creationId xmlns:a16="http://schemas.microsoft.com/office/drawing/2014/main" id="{C58EEC0A-E583-46BF-9E4C-7D3F0580DA53}"/>
              </a:ext>
            </a:extLst>
          </p:cNvPr>
          <p:cNvSpPr/>
          <p:nvPr/>
        </p:nvSpPr>
        <p:spPr>
          <a:xfrm>
            <a:off x="1998068" y="4835271"/>
            <a:ext cx="777240" cy="994410"/>
          </a:xfrm>
          <a:custGeom>
            <a:avLst/>
            <a:gdLst/>
            <a:ahLst/>
            <a:cxnLst/>
            <a:rect l="l" t="t" r="r" b="b"/>
            <a:pathLst>
              <a:path w="777239" h="994410">
                <a:moveTo>
                  <a:pt x="0" y="0"/>
                </a:moveTo>
                <a:lnTo>
                  <a:pt x="0" y="896873"/>
                </a:lnTo>
                <a:lnTo>
                  <a:pt x="6261" y="914337"/>
                </a:lnTo>
                <a:lnTo>
                  <a:pt x="53057" y="945910"/>
                </a:lnTo>
                <a:lnTo>
                  <a:pt x="91398" y="959469"/>
                </a:lnTo>
                <a:lnTo>
                  <a:pt x="138236" y="971179"/>
                </a:lnTo>
                <a:lnTo>
                  <a:pt x="192475" y="980764"/>
                </a:lnTo>
                <a:lnTo>
                  <a:pt x="253017" y="987950"/>
                </a:lnTo>
                <a:lnTo>
                  <a:pt x="318764" y="992463"/>
                </a:lnTo>
                <a:lnTo>
                  <a:pt x="388620" y="994028"/>
                </a:lnTo>
                <a:lnTo>
                  <a:pt x="458475" y="992463"/>
                </a:lnTo>
                <a:lnTo>
                  <a:pt x="524222" y="987950"/>
                </a:lnTo>
                <a:lnTo>
                  <a:pt x="584764" y="980764"/>
                </a:lnTo>
                <a:lnTo>
                  <a:pt x="639003" y="971179"/>
                </a:lnTo>
                <a:lnTo>
                  <a:pt x="685841" y="959469"/>
                </a:lnTo>
                <a:lnTo>
                  <a:pt x="724182" y="945910"/>
                </a:lnTo>
                <a:lnTo>
                  <a:pt x="770978" y="914337"/>
                </a:lnTo>
                <a:lnTo>
                  <a:pt x="777240" y="896873"/>
                </a:lnTo>
                <a:lnTo>
                  <a:pt x="777240" y="97154"/>
                </a:lnTo>
                <a:lnTo>
                  <a:pt x="388620" y="97154"/>
                </a:lnTo>
                <a:lnTo>
                  <a:pt x="318764" y="95587"/>
                </a:lnTo>
                <a:lnTo>
                  <a:pt x="253017" y="91069"/>
                </a:lnTo>
                <a:lnTo>
                  <a:pt x="192475" y="83876"/>
                </a:lnTo>
                <a:lnTo>
                  <a:pt x="138236" y="74284"/>
                </a:lnTo>
                <a:lnTo>
                  <a:pt x="91398" y="62569"/>
                </a:lnTo>
                <a:lnTo>
                  <a:pt x="53057" y="49007"/>
                </a:lnTo>
                <a:lnTo>
                  <a:pt x="6261" y="17447"/>
                </a:lnTo>
                <a:lnTo>
                  <a:pt x="0" y="0"/>
                </a:lnTo>
                <a:close/>
              </a:path>
              <a:path w="777239" h="994410">
                <a:moveTo>
                  <a:pt x="777240" y="0"/>
                </a:moveTo>
                <a:lnTo>
                  <a:pt x="752927" y="33875"/>
                </a:lnTo>
                <a:lnTo>
                  <a:pt x="685841" y="62569"/>
                </a:lnTo>
                <a:lnTo>
                  <a:pt x="639003" y="74284"/>
                </a:lnTo>
                <a:lnTo>
                  <a:pt x="584764" y="83876"/>
                </a:lnTo>
                <a:lnTo>
                  <a:pt x="524222" y="91069"/>
                </a:lnTo>
                <a:lnTo>
                  <a:pt x="458475" y="95587"/>
                </a:lnTo>
                <a:lnTo>
                  <a:pt x="388620" y="97154"/>
                </a:lnTo>
                <a:lnTo>
                  <a:pt x="777240" y="97154"/>
                </a:lnTo>
                <a:lnTo>
                  <a:pt x="777240" y="0"/>
                </a:lnTo>
                <a:close/>
              </a:path>
            </a:pathLst>
          </a:custGeom>
          <a:solidFill>
            <a:srgbClr val="0094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44">
            <a:extLst>
              <a:ext uri="{FF2B5EF4-FFF2-40B4-BE49-F238E27FC236}">
                <a16:creationId xmlns:a16="http://schemas.microsoft.com/office/drawing/2014/main" id="{276E5E20-2234-417E-94BD-31605B6C573A}"/>
              </a:ext>
            </a:extLst>
          </p:cNvPr>
          <p:cNvSpPr/>
          <p:nvPr/>
        </p:nvSpPr>
        <p:spPr>
          <a:xfrm>
            <a:off x="1998068" y="4738115"/>
            <a:ext cx="777240" cy="194310"/>
          </a:xfrm>
          <a:custGeom>
            <a:avLst/>
            <a:gdLst/>
            <a:ahLst/>
            <a:cxnLst/>
            <a:rect l="l" t="t" r="r" b="b"/>
            <a:pathLst>
              <a:path w="777239" h="194310">
                <a:moveTo>
                  <a:pt x="388620" y="0"/>
                </a:moveTo>
                <a:lnTo>
                  <a:pt x="318764" y="1563"/>
                </a:lnTo>
                <a:lnTo>
                  <a:pt x="253017" y="6070"/>
                </a:lnTo>
                <a:lnTo>
                  <a:pt x="192475" y="13250"/>
                </a:lnTo>
                <a:lnTo>
                  <a:pt x="138236" y="22828"/>
                </a:lnTo>
                <a:lnTo>
                  <a:pt x="91398" y="34533"/>
                </a:lnTo>
                <a:lnTo>
                  <a:pt x="53057" y="48090"/>
                </a:lnTo>
                <a:lnTo>
                  <a:pt x="6261" y="79674"/>
                </a:lnTo>
                <a:lnTo>
                  <a:pt x="0" y="97154"/>
                </a:lnTo>
                <a:lnTo>
                  <a:pt x="6261" y="114602"/>
                </a:lnTo>
                <a:lnTo>
                  <a:pt x="53057" y="146162"/>
                </a:lnTo>
                <a:lnTo>
                  <a:pt x="91398" y="159724"/>
                </a:lnTo>
                <a:lnTo>
                  <a:pt x="138236" y="171439"/>
                </a:lnTo>
                <a:lnTo>
                  <a:pt x="192475" y="181031"/>
                </a:lnTo>
                <a:lnTo>
                  <a:pt x="253017" y="188224"/>
                </a:lnTo>
                <a:lnTo>
                  <a:pt x="318764" y="192742"/>
                </a:lnTo>
                <a:lnTo>
                  <a:pt x="388620" y="194309"/>
                </a:lnTo>
                <a:lnTo>
                  <a:pt x="458475" y="192742"/>
                </a:lnTo>
                <a:lnTo>
                  <a:pt x="524222" y="188224"/>
                </a:lnTo>
                <a:lnTo>
                  <a:pt x="584764" y="181031"/>
                </a:lnTo>
                <a:lnTo>
                  <a:pt x="639003" y="171439"/>
                </a:lnTo>
                <a:lnTo>
                  <a:pt x="685841" y="159724"/>
                </a:lnTo>
                <a:lnTo>
                  <a:pt x="724182" y="146162"/>
                </a:lnTo>
                <a:lnTo>
                  <a:pt x="770978" y="114602"/>
                </a:lnTo>
                <a:lnTo>
                  <a:pt x="777240" y="97154"/>
                </a:lnTo>
                <a:lnTo>
                  <a:pt x="770978" y="79674"/>
                </a:lnTo>
                <a:lnTo>
                  <a:pt x="724182" y="48090"/>
                </a:lnTo>
                <a:lnTo>
                  <a:pt x="685841" y="34533"/>
                </a:lnTo>
                <a:lnTo>
                  <a:pt x="639003" y="22828"/>
                </a:lnTo>
                <a:lnTo>
                  <a:pt x="584764" y="13250"/>
                </a:lnTo>
                <a:lnTo>
                  <a:pt x="524222" y="6070"/>
                </a:lnTo>
                <a:lnTo>
                  <a:pt x="458475" y="1563"/>
                </a:lnTo>
                <a:lnTo>
                  <a:pt x="388620" y="0"/>
                </a:lnTo>
                <a:close/>
              </a:path>
            </a:pathLst>
          </a:custGeom>
          <a:solidFill>
            <a:srgbClr val="66BE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45">
            <a:extLst>
              <a:ext uri="{FF2B5EF4-FFF2-40B4-BE49-F238E27FC236}">
                <a16:creationId xmlns:a16="http://schemas.microsoft.com/office/drawing/2014/main" id="{7B37E3BC-CB65-4451-A691-13187BA82594}"/>
              </a:ext>
            </a:extLst>
          </p:cNvPr>
          <p:cNvSpPr txBox="1"/>
          <p:nvPr/>
        </p:nvSpPr>
        <p:spPr>
          <a:xfrm>
            <a:off x="2207771" y="5067046"/>
            <a:ext cx="37020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FFFFFF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业务 系统</a:t>
            </a:r>
            <a:endParaRPr sz="140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9" name="object 46">
            <a:extLst>
              <a:ext uri="{FF2B5EF4-FFF2-40B4-BE49-F238E27FC236}">
                <a16:creationId xmlns:a16="http://schemas.microsoft.com/office/drawing/2014/main" id="{E5A04A8E-62F6-4F3A-BC49-9F2F65C8A614}"/>
              </a:ext>
            </a:extLst>
          </p:cNvPr>
          <p:cNvSpPr/>
          <p:nvPr/>
        </p:nvSpPr>
        <p:spPr>
          <a:xfrm>
            <a:off x="2933043" y="5231891"/>
            <a:ext cx="539115" cy="86995"/>
          </a:xfrm>
          <a:custGeom>
            <a:avLst/>
            <a:gdLst/>
            <a:ahLst/>
            <a:cxnLst/>
            <a:rect l="l" t="t" r="r" b="b"/>
            <a:pathLst>
              <a:path w="539114" h="86995">
                <a:moveTo>
                  <a:pt x="538733" y="28955"/>
                </a:moveTo>
                <a:lnTo>
                  <a:pt x="509777" y="28955"/>
                </a:lnTo>
                <a:lnTo>
                  <a:pt x="509777" y="57911"/>
                </a:lnTo>
                <a:lnTo>
                  <a:pt x="538733" y="57911"/>
                </a:lnTo>
                <a:lnTo>
                  <a:pt x="538733" y="28955"/>
                </a:lnTo>
                <a:close/>
              </a:path>
              <a:path w="539114" h="86995">
                <a:moveTo>
                  <a:pt x="480821" y="28955"/>
                </a:moveTo>
                <a:lnTo>
                  <a:pt x="451865" y="28955"/>
                </a:lnTo>
                <a:lnTo>
                  <a:pt x="451865" y="57911"/>
                </a:lnTo>
                <a:lnTo>
                  <a:pt x="480821" y="57911"/>
                </a:lnTo>
                <a:lnTo>
                  <a:pt x="480821" y="28955"/>
                </a:lnTo>
                <a:close/>
              </a:path>
              <a:path w="539114" h="86995">
                <a:moveTo>
                  <a:pt x="422909" y="28955"/>
                </a:moveTo>
                <a:lnTo>
                  <a:pt x="393953" y="28955"/>
                </a:lnTo>
                <a:lnTo>
                  <a:pt x="393953" y="57911"/>
                </a:lnTo>
                <a:lnTo>
                  <a:pt x="422909" y="57911"/>
                </a:lnTo>
                <a:lnTo>
                  <a:pt x="422909" y="28955"/>
                </a:lnTo>
                <a:close/>
              </a:path>
              <a:path w="539114" h="86995">
                <a:moveTo>
                  <a:pt x="364997" y="28955"/>
                </a:moveTo>
                <a:lnTo>
                  <a:pt x="336041" y="28955"/>
                </a:lnTo>
                <a:lnTo>
                  <a:pt x="336041" y="57911"/>
                </a:lnTo>
                <a:lnTo>
                  <a:pt x="364997" y="57911"/>
                </a:lnTo>
                <a:lnTo>
                  <a:pt x="364997" y="28955"/>
                </a:lnTo>
                <a:close/>
              </a:path>
              <a:path w="539114" h="86995">
                <a:moveTo>
                  <a:pt x="307085" y="28955"/>
                </a:moveTo>
                <a:lnTo>
                  <a:pt x="278129" y="28955"/>
                </a:lnTo>
                <a:lnTo>
                  <a:pt x="278129" y="57911"/>
                </a:lnTo>
                <a:lnTo>
                  <a:pt x="307085" y="57911"/>
                </a:lnTo>
                <a:lnTo>
                  <a:pt x="307085" y="28955"/>
                </a:lnTo>
                <a:close/>
              </a:path>
              <a:path w="539114" h="86995">
                <a:moveTo>
                  <a:pt x="249173" y="28955"/>
                </a:moveTo>
                <a:lnTo>
                  <a:pt x="220217" y="28955"/>
                </a:lnTo>
                <a:lnTo>
                  <a:pt x="220217" y="57911"/>
                </a:lnTo>
                <a:lnTo>
                  <a:pt x="249173" y="57911"/>
                </a:lnTo>
                <a:lnTo>
                  <a:pt x="249173" y="28955"/>
                </a:lnTo>
                <a:close/>
              </a:path>
              <a:path w="539114" h="86995">
                <a:moveTo>
                  <a:pt x="191261" y="28955"/>
                </a:moveTo>
                <a:lnTo>
                  <a:pt x="162305" y="28955"/>
                </a:lnTo>
                <a:lnTo>
                  <a:pt x="162305" y="57911"/>
                </a:lnTo>
                <a:lnTo>
                  <a:pt x="191261" y="57911"/>
                </a:lnTo>
                <a:lnTo>
                  <a:pt x="191261" y="28955"/>
                </a:lnTo>
                <a:close/>
              </a:path>
              <a:path w="539114" h="86995">
                <a:moveTo>
                  <a:pt x="133350" y="28955"/>
                </a:moveTo>
                <a:lnTo>
                  <a:pt x="104393" y="28955"/>
                </a:lnTo>
                <a:lnTo>
                  <a:pt x="104393" y="57911"/>
                </a:lnTo>
                <a:lnTo>
                  <a:pt x="133350" y="57911"/>
                </a:lnTo>
                <a:lnTo>
                  <a:pt x="133350" y="28955"/>
                </a:lnTo>
                <a:close/>
              </a:path>
              <a:path w="539114" h="86995">
                <a:moveTo>
                  <a:pt x="86867" y="0"/>
                </a:moveTo>
                <a:lnTo>
                  <a:pt x="0" y="43433"/>
                </a:lnTo>
                <a:lnTo>
                  <a:pt x="86867" y="86867"/>
                </a:lnTo>
                <a:lnTo>
                  <a:pt x="86867" y="57911"/>
                </a:lnTo>
                <a:lnTo>
                  <a:pt x="72389" y="57911"/>
                </a:lnTo>
                <a:lnTo>
                  <a:pt x="72389" y="28955"/>
                </a:lnTo>
                <a:lnTo>
                  <a:pt x="86867" y="28955"/>
                </a:lnTo>
                <a:lnTo>
                  <a:pt x="86867" y="0"/>
                </a:lnTo>
                <a:close/>
              </a:path>
              <a:path w="539114" h="86995">
                <a:moveTo>
                  <a:pt x="75437" y="28955"/>
                </a:moveTo>
                <a:lnTo>
                  <a:pt x="72389" y="28955"/>
                </a:lnTo>
                <a:lnTo>
                  <a:pt x="72389" y="57911"/>
                </a:lnTo>
                <a:lnTo>
                  <a:pt x="75437" y="57911"/>
                </a:lnTo>
                <a:lnTo>
                  <a:pt x="75437" y="28955"/>
                </a:lnTo>
                <a:close/>
              </a:path>
              <a:path w="539114" h="86995">
                <a:moveTo>
                  <a:pt x="86867" y="28955"/>
                </a:moveTo>
                <a:lnTo>
                  <a:pt x="75437" y="28955"/>
                </a:lnTo>
                <a:lnTo>
                  <a:pt x="75437" y="57911"/>
                </a:lnTo>
                <a:lnTo>
                  <a:pt x="86867" y="57911"/>
                </a:lnTo>
                <a:lnTo>
                  <a:pt x="86867" y="28955"/>
                </a:lnTo>
                <a:close/>
              </a:path>
            </a:pathLst>
          </a:custGeom>
          <a:solidFill>
            <a:srgbClr val="0094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7">
            <a:extLst>
              <a:ext uri="{FF2B5EF4-FFF2-40B4-BE49-F238E27FC236}">
                <a16:creationId xmlns:a16="http://schemas.microsoft.com/office/drawing/2014/main" id="{59E43D2D-EA91-48A0-981A-D6DEADEF1B70}"/>
              </a:ext>
            </a:extLst>
          </p:cNvPr>
          <p:cNvSpPr/>
          <p:nvPr/>
        </p:nvSpPr>
        <p:spPr>
          <a:xfrm>
            <a:off x="3657704" y="4411979"/>
            <a:ext cx="1146175" cy="525780"/>
          </a:xfrm>
          <a:custGeom>
            <a:avLst/>
            <a:gdLst/>
            <a:ahLst/>
            <a:cxnLst/>
            <a:rect l="l" t="t" r="r" b="b"/>
            <a:pathLst>
              <a:path w="1146175" h="525779">
                <a:moveTo>
                  <a:pt x="1146048" y="87630"/>
                </a:moveTo>
                <a:lnTo>
                  <a:pt x="1139160" y="53524"/>
                </a:lnTo>
                <a:lnTo>
                  <a:pt x="1120378" y="25669"/>
                </a:lnTo>
                <a:lnTo>
                  <a:pt x="1092523" y="6887"/>
                </a:lnTo>
                <a:lnTo>
                  <a:pt x="1058418" y="0"/>
                </a:lnTo>
                <a:lnTo>
                  <a:pt x="87630" y="0"/>
                </a:lnTo>
                <a:lnTo>
                  <a:pt x="53524" y="6887"/>
                </a:lnTo>
                <a:lnTo>
                  <a:pt x="25669" y="25669"/>
                </a:lnTo>
                <a:lnTo>
                  <a:pt x="6887" y="53524"/>
                </a:lnTo>
                <a:lnTo>
                  <a:pt x="0" y="87630"/>
                </a:lnTo>
                <a:lnTo>
                  <a:pt x="0" y="438150"/>
                </a:lnTo>
                <a:lnTo>
                  <a:pt x="6887" y="472255"/>
                </a:lnTo>
                <a:lnTo>
                  <a:pt x="25669" y="500110"/>
                </a:lnTo>
                <a:lnTo>
                  <a:pt x="53524" y="518892"/>
                </a:lnTo>
                <a:lnTo>
                  <a:pt x="87630" y="525780"/>
                </a:lnTo>
                <a:lnTo>
                  <a:pt x="1058418" y="525780"/>
                </a:lnTo>
                <a:lnTo>
                  <a:pt x="1092523" y="518892"/>
                </a:lnTo>
                <a:lnTo>
                  <a:pt x="1120378" y="500110"/>
                </a:lnTo>
                <a:lnTo>
                  <a:pt x="1139160" y="472255"/>
                </a:lnTo>
                <a:lnTo>
                  <a:pt x="1146048" y="438150"/>
                </a:lnTo>
                <a:lnTo>
                  <a:pt x="1146048" y="87630"/>
                </a:lnTo>
                <a:close/>
              </a:path>
            </a:pathLst>
          </a:custGeom>
          <a:ln w="12192">
            <a:solidFill>
              <a:srgbClr val="FF5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48">
            <a:extLst>
              <a:ext uri="{FF2B5EF4-FFF2-40B4-BE49-F238E27FC236}">
                <a16:creationId xmlns:a16="http://schemas.microsoft.com/office/drawing/2014/main" id="{AC8D00FC-7626-434E-BE99-8D389D71136C}"/>
              </a:ext>
            </a:extLst>
          </p:cNvPr>
          <p:cNvSpPr txBox="1"/>
          <p:nvPr/>
        </p:nvSpPr>
        <p:spPr>
          <a:xfrm>
            <a:off x="3900656" y="4548885"/>
            <a:ext cx="72644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40404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自动拒贷</a:t>
            </a:r>
            <a:endParaRPr sz="140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2" name="object 49">
            <a:extLst>
              <a:ext uri="{FF2B5EF4-FFF2-40B4-BE49-F238E27FC236}">
                <a16:creationId xmlns:a16="http://schemas.microsoft.com/office/drawing/2014/main" id="{5D1C09C3-48D4-402C-BD7D-EB84824A59A4}"/>
              </a:ext>
            </a:extLst>
          </p:cNvPr>
          <p:cNvSpPr/>
          <p:nvPr/>
        </p:nvSpPr>
        <p:spPr>
          <a:xfrm>
            <a:off x="3656181" y="5024628"/>
            <a:ext cx="1146175" cy="524510"/>
          </a:xfrm>
          <a:custGeom>
            <a:avLst/>
            <a:gdLst/>
            <a:ahLst/>
            <a:cxnLst/>
            <a:rect l="l" t="t" r="r" b="b"/>
            <a:pathLst>
              <a:path w="1146175" h="524510">
                <a:moveTo>
                  <a:pt x="1146048" y="87376"/>
                </a:moveTo>
                <a:lnTo>
                  <a:pt x="1139182" y="53363"/>
                </a:lnTo>
                <a:lnTo>
                  <a:pt x="1120457" y="25590"/>
                </a:lnTo>
                <a:lnTo>
                  <a:pt x="1092684" y="6865"/>
                </a:lnTo>
                <a:lnTo>
                  <a:pt x="1058672" y="0"/>
                </a:lnTo>
                <a:lnTo>
                  <a:pt x="87375" y="0"/>
                </a:lnTo>
                <a:lnTo>
                  <a:pt x="53363" y="6865"/>
                </a:lnTo>
                <a:lnTo>
                  <a:pt x="25590" y="25590"/>
                </a:lnTo>
                <a:lnTo>
                  <a:pt x="6865" y="53363"/>
                </a:lnTo>
                <a:lnTo>
                  <a:pt x="0" y="87376"/>
                </a:lnTo>
                <a:lnTo>
                  <a:pt x="0" y="436880"/>
                </a:lnTo>
                <a:lnTo>
                  <a:pt x="6865" y="470892"/>
                </a:lnTo>
                <a:lnTo>
                  <a:pt x="25590" y="498665"/>
                </a:lnTo>
                <a:lnTo>
                  <a:pt x="53363" y="517390"/>
                </a:lnTo>
                <a:lnTo>
                  <a:pt x="87375" y="524256"/>
                </a:lnTo>
                <a:lnTo>
                  <a:pt x="1058672" y="524256"/>
                </a:lnTo>
                <a:lnTo>
                  <a:pt x="1092684" y="517390"/>
                </a:lnTo>
                <a:lnTo>
                  <a:pt x="1120457" y="498665"/>
                </a:lnTo>
                <a:lnTo>
                  <a:pt x="1139182" y="470892"/>
                </a:lnTo>
                <a:lnTo>
                  <a:pt x="1146048" y="436880"/>
                </a:lnTo>
                <a:lnTo>
                  <a:pt x="1146048" y="87376"/>
                </a:lnTo>
                <a:close/>
              </a:path>
            </a:pathLst>
          </a:custGeom>
          <a:ln w="12192">
            <a:solidFill>
              <a:srgbClr val="FFC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50">
            <a:extLst>
              <a:ext uri="{FF2B5EF4-FFF2-40B4-BE49-F238E27FC236}">
                <a16:creationId xmlns:a16="http://schemas.microsoft.com/office/drawing/2014/main" id="{A0308ED5-2AFB-42FC-95D8-ABC59410FA2E}"/>
              </a:ext>
            </a:extLst>
          </p:cNvPr>
          <p:cNvSpPr txBox="1"/>
          <p:nvPr/>
        </p:nvSpPr>
        <p:spPr>
          <a:xfrm>
            <a:off x="3898497" y="5161026"/>
            <a:ext cx="72644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40404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人工审核</a:t>
            </a:r>
            <a:endParaRPr sz="140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4" name="object 51">
            <a:extLst>
              <a:ext uri="{FF2B5EF4-FFF2-40B4-BE49-F238E27FC236}">
                <a16:creationId xmlns:a16="http://schemas.microsoft.com/office/drawing/2014/main" id="{5864D20B-C8C9-4A34-AB0F-7DC8DE1D1EDF}"/>
              </a:ext>
            </a:extLst>
          </p:cNvPr>
          <p:cNvSpPr/>
          <p:nvPr/>
        </p:nvSpPr>
        <p:spPr>
          <a:xfrm>
            <a:off x="3651609" y="5637276"/>
            <a:ext cx="1146175" cy="524510"/>
          </a:xfrm>
          <a:custGeom>
            <a:avLst/>
            <a:gdLst/>
            <a:ahLst/>
            <a:cxnLst/>
            <a:rect l="l" t="t" r="r" b="b"/>
            <a:pathLst>
              <a:path w="1146175" h="524510">
                <a:moveTo>
                  <a:pt x="1146048" y="87376"/>
                </a:moveTo>
                <a:lnTo>
                  <a:pt x="1139182" y="53363"/>
                </a:lnTo>
                <a:lnTo>
                  <a:pt x="1120457" y="25590"/>
                </a:lnTo>
                <a:lnTo>
                  <a:pt x="1092684" y="6865"/>
                </a:lnTo>
                <a:lnTo>
                  <a:pt x="1058672" y="0"/>
                </a:lnTo>
                <a:lnTo>
                  <a:pt x="87375" y="0"/>
                </a:lnTo>
                <a:lnTo>
                  <a:pt x="53363" y="6865"/>
                </a:lnTo>
                <a:lnTo>
                  <a:pt x="25590" y="25590"/>
                </a:lnTo>
                <a:lnTo>
                  <a:pt x="6865" y="53363"/>
                </a:lnTo>
                <a:lnTo>
                  <a:pt x="0" y="87376"/>
                </a:lnTo>
                <a:lnTo>
                  <a:pt x="0" y="436880"/>
                </a:lnTo>
                <a:lnTo>
                  <a:pt x="6865" y="470892"/>
                </a:lnTo>
                <a:lnTo>
                  <a:pt x="25590" y="498665"/>
                </a:lnTo>
                <a:lnTo>
                  <a:pt x="53363" y="517390"/>
                </a:lnTo>
                <a:lnTo>
                  <a:pt x="87375" y="524256"/>
                </a:lnTo>
                <a:lnTo>
                  <a:pt x="1058672" y="524256"/>
                </a:lnTo>
                <a:lnTo>
                  <a:pt x="1092684" y="517390"/>
                </a:lnTo>
                <a:lnTo>
                  <a:pt x="1120457" y="498665"/>
                </a:lnTo>
                <a:lnTo>
                  <a:pt x="1139182" y="470892"/>
                </a:lnTo>
                <a:lnTo>
                  <a:pt x="1146048" y="436880"/>
                </a:lnTo>
                <a:lnTo>
                  <a:pt x="1146048" y="87376"/>
                </a:lnTo>
                <a:close/>
              </a:path>
            </a:pathLst>
          </a:custGeom>
          <a:ln w="12192">
            <a:solidFill>
              <a:srgbClr val="0094D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52">
            <a:extLst>
              <a:ext uri="{FF2B5EF4-FFF2-40B4-BE49-F238E27FC236}">
                <a16:creationId xmlns:a16="http://schemas.microsoft.com/office/drawing/2014/main" id="{802056E7-BDF1-4AED-B5D7-2D6065EAF8FE}"/>
              </a:ext>
            </a:extLst>
          </p:cNvPr>
          <p:cNvSpPr txBox="1"/>
          <p:nvPr/>
        </p:nvSpPr>
        <p:spPr>
          <a:xfrm>
            <a:off x="3894178" y="5773623"/>
            <a:ext cx="72644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404040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进入信审</a:t>
            </a:r>
            <a:endParaRPr sz="1400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6" name="object 53">
            <a:extLst>
              <a:ext uri="{FF2B5EF4-FFF2-40B4-BE49-F238E27FC236}">
                <a16:creationId xmlns:a16="http://schemas.microsoft.com/office/drawing/2014/main" id="{4CC33CEC-154F-41EE-BD20-EF8B59A3EDFC}"/>
              </a:ext>
            </a:extLst>
          </p:cNvPr>
          <p:cNvSpPr/>
          <p:nvPr/>
        </p:nvSpPr>
        <p:spPr>
          <a:xfrm>
            <a:off x="7890614" y="5236464"/>
            <a:ext cx="539115" cy="86995"/>
          </a:xfrm>
          <a:custGeom>
            <a:avLst/>
            <a:gdLst/>
            <a:ahLst/>
            <a:cxnLst/>
            <a:rect l="l" t="t" r="r" b="b"/>
            <a:pathLst>
              <a:path w="539115" h="86995">
                <a:moveTo>
                  <a:pt x="538733" y="28956"/>
                </a:moveTo>
                <a:lnTo>
                  <a:pt x="509777" y="28956"/>
                </a:lnTo>
                <a:lnTo>
                  <a:pt x="509777" y="57912"/>
                </a:lnTo>
                <a:lnTo>
                  <a:pt x="538733" y="57912"/>
                </a:lnTo>
                <a:lnTo>
                  <a:pt x="538733" y="28956"/>
                </a:lnTo>
                <a:close/>
              </a:path>
              <a:path w="539115" h="86995">
                <a:moveTo>
                  <a:pt x="480822" y="28956"/>
                </a:moveTo>
                <a:lnTo>
                  <a:pt x="451865" y="28956"/>
                </a:lnTo>
                <a:lnTo>
                  <a:pt x="451865" y="57912"/>
                </a:lnTo>
                <a:lnTo>
                  <a:pt x="480822" y="57912"/>
                </a:lnTo>
                <a:lnTo>
                  <a:pt x="480822" y="28956"/>
                </a:lnTo>
                <a:close/>
              </a:path>
              <a:path w="539115" h="86995">
                <a:moveTo>
                  <a:pt x="422909" y="28956"/>
                </a:moveTo>
                <a:lnTo>
                  <a:pt x="393953" y="28956"/>
                </a:lnTo>
                <a:lnTo>
                  <a:pt x="393953" y="57912"/>
                </a:lnTo>
                <a:lnTo>
                  <a:pt x="422909" y="57912"/>
                </a:lnTo>
                <a:lnTo>
                  <a:pt x="422909" y="28956"/>
                </a:lnTo>
                <a:close/>
              </a:path>
              <a:path w="539115" h="86995">
                <a:moveTo>
                  <a:pt x="364998" y="28956"/>
                </a:moveTo>
                <a:lnTo>
                  <a:pt x="336041" y="28956"/>
                </a:lnTo>
                <a:lnTo>
                  <a:pt x="336041" y="57912"/>
                </a:lnTo>
                <a:lnTo>
                  <a:pt x="364998" y="57912"/>
                </a:lnTo>
                <a:lnTo>
                  <a:pt x="364998" y="28956"/>
                </a:lnTo>
                <a:close/>
              </a:path>
              <a:path w="539115" h="86995">
                <a:moveTo>
                  <a:pt x="307085" y="28956"/>
                </a:moveTo>
                <a:lnTo>
                  <a:pt x="278129" y="28956"/>
                </a:lnTo>
                <a:lnTo>
                  <a:pt x="278129" y="57912"/>
                </a:lnTo>
                <a:lnTo>
                  <a:pt x="307085" y="57912"/>
                </a:lnTo>
                <a:lnTo>
                  <a:pt x="307085" y="28956"/>
                </a:lnTo>
                <a:close/>
              </a:path>
              <a:path w="539115" h="86995">
                <a:moveTo>
                  <a:pt x="249174" y="28956"/>
                </a:moveTo>
                <a:lnTo>
                  <a:pt x="220217" y="28956"/>
                </a:lnTo>
                <a:lnTo>
                  <a:pt x="220217" y="57912"/>
                </a:lnTo>
                <a:lnTo>
                  <a:pt x="249174" y="57912"/>
                </a:lnTo>
                <a:lnTo>
                  <a:pt x="249174" y="28956"/>
                </a:lnTo>
                <a:close/>
              </a:path>
              <a:path w="539115" h="86995">
                <a:moveTo>
                  <a:pt x="191261" y="28956"/>
                </a:moveTo>
                <a:lnTo>
                  <a:pt x="162305" y="28956"/>
                </a:lnTo>
                <a:lnTo>
                  <a:pt x="162305" y="57912"/>
                </a:lnTo>
                <a:lnTo>
                  <a:pt x="191261" y="57912"/>
                </a:lnTo>
                <a:lnTo>
                  <a:pt x="191261" y="28956"/>
                </a:lnTo>
                <a:close/>
              </a:path>
              <a:path w="539115" h="86995">
                <a:moveTo>
                  <a:pt x="133350" y="28956"/>
                </a:moveTo>
                <a:lnTo>
                  <a:pt x="104394" y="28956"/>
                </a:lnTo>
                <a:lnTo>
                  <a:pt x="104394" y="57912"/>
                </a:lnTo>
                <a:lnTo>
                  <a:pt x="133350" y="57912"/>
                </a:lnTo>
                <a:lnTo>
                  <a:pt x="133350" y="28956"/>
                </a:lnTo>
                <a:close/>
              </a:path>
              <a:path w="539115" h="86995">
                <a:moveTo>
                  <a:pt x="86867" y="0"/>
                </a:moveTo>
                <a:lnTo>
                  <a:pt x="0" y="43434"/>
                </a:lnTo>
                <a:lnTo>
                  <a:pt x="86867" y="86868"/>
                </a:lnTo>
                <a:lnTo>
                  <a:pt x="86867" y="57912"/>
                </a:lnTo>
                <a:lnTo>
                  <a:pt x="72389" y="57912"/>
                </a:lnTo>
                <a:lnTo>
                  <a:pt x="72389" y="28956"/>
                </a:lnTo>
                <a:lnTo>
                  <a:pt x="86867" y="28956"/>
                </a:lnTo>
                <a:lnTo>
                  <a:pt x="86867" y="0"/>
                </a:lnTo>
                <a:close/>
              </a:path>
              <a:path w="539115" h="86995">
                <a:moveTo>
                  <a:pt x="75437" y="28956"/>
                </a:moveTo>
                <a:lnTo>
                  <a:pt x="72389" y="28956"/>
                </a:lnTo>
                <a:lnTo>
                  <a:pt x="72389" y="57912"/>
                </a:lnTo>
                <a:lnTo>
                  <a:pt x="75437" y="57912"/>
                </a:lnTo>
                <a:lnTo>
                  <a:pt x="75437" y="28956"/>
                </a:lnTo>
                <a:close/>
              </a:path>
              <a:path w="539115" h="86995">
                <a:moveTo>
                  <a:pt x="86867" y="28956"/>
                </a:moveTo>
                <a:lnTo>
                  <a:pt x="75437" y="28956"/>
                </a:lnTo>
                <a:lnTo>
                  <a:pt x="75437" y="57912"/>
                </a:lnTo>
                <a:lnTo>
                  <a:pt x="86867" y="57912"/>
                </a:lnTo>
                <a:lnTo>
                  <a:pt x="86867" y="28956"/>
                </a:lnTo>
                <a:close/>
              </a:path>
            </a:pathLst>
          </a:custGeom>
          <a:solidFill>
            <a:srgbClr val="0094D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54">
            <a:extLst>
              <a:ext uri="{FF2B5EF4-FFF2-40B4-BE49-F238E27FC236}">
                <a16:creationId xmlns:a16="http://schemas.microsoft.com/office/drawing/2014/main" id="{E165C833-35E9-4BBE-8C2C-09EDEFB769B1}"/>
              </a:ext>
            </a:extLst>
          </p:cNvPr>
          <p:cNvSpPr/>
          <p:nvPr/>
        </p:nvSpPr>
        <p:spPr>
          <a:xfrm>
            <a:off x="4857092" y="4636008"/>
            <a:ext cx="539115" cy="76200"/>
          </a:xfrm>
          <a:custGeom>
            <a:avLst/>
            <a:gdLst/>
            <a:ahLst/>
            <a:cxnLst/>
            <a:rect l="l" t="t" r="r" b="b"/>
            <a:pathLst>
              <a:path w="539114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539114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539114" h="76200">
                <a:moveTo>
                  <a:pt x="538733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538733" y="44450"/>
                </a:lnTo>
                <a:lnTo>
                  <a:pt x="538733" y="31750"/>
                </a:lnTo>
                <a:close/>
              </a:path>
            </a:pathLst>
          </a:custGeom>
          <a:solidFill>
            <a:srgbClr val="FF5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55">
            <a:extLst>
              <a:ext uri="{FF2B5EF4-FFF2-40B4-BE49-F238E27FC236}">
                <a16:creationId xmlns:a16="http://schemas.microsoft.com/office/drawing/2014/main" id="{087216B2-BEA2-4E52-AAFF-AADDDB768BD7}"/>
              </a:ext>
            </a:extLst>
          </p:cNvPr>
          <p:cNvSpPr/>
          <p:nvPr/>
        </p:nvSpPr>
        <p:spPr>
          <a:xfrm>
            <a:off x="4887573" y="5236464"/>
            <a:ext cx="539115" cy="76200"/>
          </a:xfrm>
          <a:custGeom>
            <a:avLst/>
            <a:gdLst/>
            <a:ahLst/>
            <a:cxnLst/>
            <a:rect l="l" t="t" r="r" b="b"/>
            <a:pathLst>
              <a:path w="539114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539114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539114" h="76200">
                <a:moveTo>
                  <a:pt x="538734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538734" y="44450"/>
                </a:lnTo>
                <a:lnTo>
                  <a:pt x="538734" y="3175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56">
            <a:extLst>
              <a:ext uri="{FF2B5EF4-FFF2-40B4-BE49-F238E27FC236}">
                <a16:creationId xmlns:a16="http://schemas.microsoft.com/office/drawing/2014/main" id="{B0622884-D135-42DC-94FA-165B8475B6A0}"/>
              </a:ext>
            </a:extLst>
          </p:cNvPr>
          <p:cNvSpPr/>
          <p:nvPr/>
        </p:nvSpPr>
        <p:spPr>
          <a:xfrm>
            <a:off x="4887573" y="5830823"/>
            <a:ext cx="539115" cy="76200"/>
          </a:xfrm>
          <a:custGeom>
            <a:avLst/>
            <a:gdLst/>
            <a:ahLst/>
            <a:cxnLst/>
            <a:rect l="l" t="t" r="r" b="b"/>
            <a:pathLst>
              <a:path w="539114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539114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539114" h="76200">
                <a:moveTo>
                  <a:pt x="538734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538734" y="44450"/>
                </a:lnTo>
                <a:lnTo>
                  <a:pt x="538734" y="31750"/>
                </a:lnTo>
                <a:close/>
              </a:path>
            </a:pathLst>
          </a:custGeom>
          <a:solidFill>
            <a:srgbClr val="0094DE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119671"/>
      </p:ext>
    </p:extLst>
  </p:cSld>
  <p:clrMapOvr>
    <a:masterClrMapping/>
  </p:clrMapOvr>
  <p:transition spd="med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/>
              <a:t>Thinking &amp; Action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4927220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ction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银行客户定期存款预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https://www.kaggle.com/c/bankdirectmarketing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葡萄牙银行，开展营销活动吸引更多人认购定期存款，通过营销活动沉淀的数据，想要预测未来这些人是否会进行认购，方便进行精准营销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训练集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rain.csv 4459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条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测试集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est.csv 49342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条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02F61775-64CE-4A29-B6B3-2A3C06D0D14B}"/>
              </a:ext>
            </a:extLst>
          </p:cNvPr>
          <p:cNvSpPr txBox="1">
            <a:spLocks/>
          </p:cNvSpPr>
          <p:nvPr/>
        </p:nvSpPr>
        <p:spPr>
          <a:xfrm>
            <a:off x="10892117" y="1425127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客户基本信息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F1CCF575-6A3C-4A32-BEDE-62C363924DF8}"/>
              </a:ext>
            </a:extLst>
          </p:cNvPr>
          <p:cNvGraphicFramePr>
            <a:graphicFrameLocks noGrp="1"/>
          </p:cNvGraphicFramePr>
          <p:nvPr/>
        </p:nvGraphicFramePr>
        <p:xfrm>
          <a:off x="5478560" y="1276889"/>
          <a:ext cx="5398622" cy="529799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238998">
                  <a:extLst>
                    <a:ext uri="{9D8B030D-6E8A-4147-A177-3AD203B41FA5}">
                      <a16:colId xmlns:a16="http://schemas.microsoft.com/office/drawing/2014/main" val="67318140"/>
                    </a:ext>
                  </a:extLst>
                </a:gridCol>
                <a:gridCol w="4159624">
                  <a:extLst>
                    <a:ext uri="{9D8B030D-6E8A-4147-A177-3AD203B41FA5}">
                      <a16:colId xmlns:a16="http://schemas.microsoft.com/office/drawing/2014/main" val="3496600605"/>
                    </a:ext>
                  </a:extLst>
                </a:gridCol>
              </a:tblGrid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字段</a:t>
                      </a:r>
                      <a:endParaRPr lang="en-US" altLang="zh-CN" sz="1400" u="none" strike="noStrike" dirty="0">
                        <a:effectLst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说明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468683520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g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年龄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01910122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job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职业：</a:t>
                      </a:r>
                      <a:r>
                        <a:rPr lang="en-US" sz="1400" u="none" strike="noStrike" dirty="0">
                          <a:effectLst/>
                        </a:rPr>
                        <a:t>admin, unknown, unemployed, management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16760367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ar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婚姻：</a:t>
                      </a:r>
                      <a:r>
                        <a:rPr lang="en-US" sz="1400" u="none" strike="noStrike">
                          <a:effectLst/>
                        </a:rPr>
                        <a:t>married, divorced, sing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16031445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efaul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信用卡是否有违约</a:t>
                      </a:r>
                      <a:r>
                        <a:rPr lang="en-US" altLang="zh-CN" sz="1400" u="none" strike="noStrike">
                          <a:effectLst/>
                        </a:rPr>
                        <a:t>: </a:t>
                      </a:r>
                      <a:r>
                        <a:rPr lang="en-US" sz="1400" u="none" strike="noStrike">
                          <a:effectLst/>
                        </a:rPr>
                        <a:t>yes or 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989109536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housi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是否有房贷</a:t>
                      </a:r>
                      <a:r>
                        <a:rPr lang="en-US" altLang="zh-CN" sz="1400" u="none" strike="noStrike">
                          <a:effectLst/>
                        </a:rPr>
                        <a:t>: </a:t>
                      </a:r>
                      <a:r>
                        <a:rPr lang="en-US" sz="1400" u="none" strike="noStrike">
                          <a:effectLst/>
                        </a:rPr>
                        <a:t>yes or 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414579661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ontac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联系方式：</a:t>
                      </a:r>
                      <a:r>
                        <a:rPr lang="en-US" sz="1400" u="none" strike="noStrike">
                          <a:effectLst/>
                        </a:rPr>
                        <a:t>unknown, telephone, cellula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318391914"/>
                  </a:ext>
                </a:extLst>
              </a:tr>
              <a:tr h="29526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ont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上一次联系的月份：</a:t>
                      </a:r>
                      <a:r>
                        <a:rPr lang="en-US" sz="1400" u="none" strike="noStrike" dirty="0" err="1">
                          <a:effectLst/>
                        </a:rPr>
                        <a:t>jan</a:t>
                      </a:r>
                      <a:r>
                        <a:rPr lang="en-US" sz="1400" u="none" strike="noStrike" dirty="0">
                          <a:effectLst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</a:rPr>
                        <a:t>feb</a:t>
                      </a:r>
                      <a:r>
                        <a:rPr lang="en-US" sz="1400" u="none" strike="noStrike" dirty="0">
                          <a:effectLst/>
                        </a:rPr>
                        <a:t>, mar, 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426055908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ay_of_week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上一次联系的星期几：</a:t>
                      </a:r>
                      <a:r>
                        <a:rPr lang="en-US" sz="1400" u="none" strike="noStrike" dirty="0" err="1">
                          <a:effectLst/>
                        </a:rPr>
                        <a:t>mon</a:t>
                      </a:r>
                      <a:r>
                        <a:rPr lang="en-US" sz="1400" u="none" strike="noStrike" dirty="0">
                          <a:effectLst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</a:rPr>
                        <a:t>tue</a:t>
                      </a:r>
                      <a:r>
                        <a:rPr lang="en-US" sz="1400" u="none" strike="noStrike" dirty="0">
                          <a:effectLst/>
                        </a:rPr>
                        <a:t>, wed, </a:t>
                      </a:r>
                      <a:r>
                        <a:rPr lang="en-US" sz="1400" u="none" strike="noStrike" dirty="0" err="1">
                          <a:effectLst/>
                        </a:rPr>
                        <a:t>thu</a:t>
                      </a:r>
                      <a:r>
                        <a:rPr lang="en-US" sz="1400" u="none" strike="noStrike" dirty="0">
                          <a:effectLst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</a:rPr>
                        <a:t>fri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68894790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uratio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上一次联系的时长（秒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798797493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ampaig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活动期间联系客户的次数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801117048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day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上一次与客户联系后的间隔天数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767760885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reviou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在本次营销活动前，与客户联系的次数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908102953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poutcom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之前营销活动的结果：</a:t>
                      </a:r>
                      <a:r>
                        <a:rPr lang="en-US" sz="1400" u="none" strike="noStrike">
                          <a:effectLst/>
                        </a:rPr>
                        <a:t>unknown, other, failure, succes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424415091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mp.var.rat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就业变动率（季度指标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417666644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ons.price.idx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消费者信心指数（月度指标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298320684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uribor3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欧洲银行同业拆借率 </a:t>
                      </a:r>
                      <a:r>
                        <a:rPr lang="en-US" altLang="zh-CN" sz="1400" u="none" strike="noStrike">
                          <a:effectLst/>
                        </a:rPr>
                        <a:t>3</a:t>
                      </a:r>
                      <a:r>
                        <a:rPr lang="zh-CN" altLang="en-US" sz="1400" u="none" strike="noStrike">
                          <a:effectLst/>
                        </a:rPr>
                        <a:t>个月利率（每日指标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588945074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nr.employe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雇员人数（季度指标）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3692545208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subscrib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客户是否进行存款：</a:t>
                      </a:r>
                      <a:r>
                        <a:rPr lang="en-US" altLang="zh-CN" sz="1400" u="none" strike="noStrike" dirty="0">
                          <a:effectLst/>
                        </a:rPr>
                        <a:t>1 </a:t>
                      </a:r>
                      <a:r>
                        <a:rPr lang="zh-CN" altLang="en-US" sz="1400" u="none" strike="noStrike" dirty="0">
                          <a:effectLst/>
                        </a:rPr>
                        <a:t>或 </a:t>
                      </a:r>
                      <a:r>
                        <a:rPr lang="en-US" altLang="zh-CN" sz="1400" u="none" strike="noStrike" dirty="0">
                          <a:effectLst/>
                        </a:rPr>
                        <a:t>0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89860687"/>
                  </a:ext>
                </a:extLst>
              </a:tr>
            </a:tbl>
          </a:graphicData>
        </a:graphic>
      </p:graphicFrame>
      <p:sp>
        <p:nvSpPr>
          <p:cNvPr id="7" name="文本占位符 3">
            <a:extLst>
              <a:ext uri="{FF2B5EF4-FFF2-40B4-BE49-F238E27FC236}">
                <a16:creationId xmlns:a16="http://schemas.microsoft.com/office/drawing/2014/main" id="{A8B331E6-1821-4FEF-BF2D-D2F2E04F068B}"/>
              </a:ext>
            </a:extLst>
          </p:cNvPr>
          <p:cNvSpPr txBox="1">
            <a:spLocks/>
          </p:cNvSpPr>
          <p:nvPr/>
        </p:nvSpPr>
        <p:spPr>
          <a:xfrm>
            <a:off x="10853276" y="2772821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本次活动的联系情况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8" name="文本占位符 3">
            <a:extLst>
              <a:ext uri="{FF2B5EF4-FFF2-40B4-BE49-F238E27FC236}">
                <a16:creationId xmlns:a16="http://schemas.microsoft.com/office/drawing/2014/main" id="{4D7EB000-AD76-4CFA-821E-A600C27B89C6}"/>
              </a:ext>
            </a:extLst>
          </p:cNvPr>
          <p:cNvSpPr txBox="1">
            <a:spLocks/>
          </p:cNvSpPr>
          <p:nvPr/>
        </p:nvSpPr>
        <p:spPr>
          <a:xfrm>
            <a:off x="10853276" y="4807809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市场经济特征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9" name="文本占位符 3">
            <a:extLst>
              <a:ext uri="{FF2B5EF4-FFF2-40B4-BE49-F238E27FC236}">
                <a16:creationId xmlns:a16="http://schemas.microsoft.com/office/drawing/2014/main" id="{4897E164-74BC-48A0-9315-9C8F70F5AFCA}"/>
              </a:ext>
            </a:extLst>
          </p:cNvPr>
          <p:cNvSpPr txBox="1">
            <a:spLocks/>
          </p:cNvSpPr>
          <p:nvPr/>
        </p:nvSpPr>
        <p:spPr>
          <a:xfrm>
            <a:off x="10853276" y="6154384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预测结果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573947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/>
              <a:t>Thinking &amp; Action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6100472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评测指标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 F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值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采用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F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值，可以很好的平衡精确率和召回率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精确率 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Precisi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rue Positiv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在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ll predicted positives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的比例召回率 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Recall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rue Positiv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在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ll actual positives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的比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02F61775-64CE-4A29-B6B3-2A3C06D0D14B}"/>
              </a:ext>
            </a:extLst>
          </p:cNvPr>
          <p:cNvSpPr txBox="1">
            <a:spLocks/>
          </p:cNvSpPr>
          <p:nvPr/>
        </p:nvSpPr>
        <p:spPr>
          <a:xfrm>
            <a:off x="7156822" y="5882527"/>
            <a:ext cx="3983319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ample_submission.csv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提交预测结果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7A495CDC-C4F7-451A-98DB-0EC4D7625B2C}"/>
              </a:ext>
            </a:extLst>
          </p:cNvPr>
          <p:cNvGraphicFramePr>
            <a:graphicFrameLocks noGrp="1"/>
          </p:cNvGraphicFramePr>
          <p:nvPr/>
        </p:nvGraphicFramePr>
        <p:xfrm>
          <a:off x="7237506" y="1391311"/>
          <a:ext cx="3460376" cy="4358049"/>
        </p:xfrm>
        <a:graphic>
          <a:graphicData uri="http://schemas.openxmlformats.org/drawingml/2006/table">
            <a:tbl>
              <a:tblPr/>
              <a:tblGrid>
                <a:gridCol w="1730188">
                  <a:extLst>
                    <a:ext uri="{9D8B030D-6E8A-4147-A177-3AD203B41FA5}">
                      <a16:colId xmlns:a16="http://schemas.microsoft.com/office/drawing/2014/main" val="362903828"/>
                    </a:ext>
                  </a:extLst>
                </a:gridCol>
                <a:gridCol w="1730188">
                  <a:extLst>
                    <a:ext uri="{9D8B030D-6E8A-4147-A177-3AD203B41FA5}">
                      <a16:colId xmlns:a16="http://schemas.microsoft.com/office/drawing/2014/main" val="4029608709"/>
                    </a:ext>
                  </a:extLst>
                </a:gridCol>
              </a:tblGrid>
              <a:tr h="2612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RecordI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Subscrib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599886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6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560704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525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20872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07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102781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44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337889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11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283684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92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363848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23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858108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7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569285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9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813985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2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7256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9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8817200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41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712892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37611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69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5541614"/>
                  </a:ext>
                </a:extLst>
              </a:tr>
            </a:tbl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989427B5-2C19-45BC-A2FE-E1623B4620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610" y="2135605"/>
            <a:ext cx="3843366" cy="5667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77042404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2AED13A-748C-422F-B53C-060E6FCF1FB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幻灯片" r:id="rId5" imgW="463" imgH="464" progId="TCLayout.ActiveDocument.1">
                  <p:embed/>
                </p:oleObj>
              </mc:Choice>
              <mc:Fallback>
                <p:oleObj name="think-cell 幻灯片" r:id="rId5" imgW="463" imgH="464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2AED13A-748C-422F-B53C-060E6FCF1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1">
            <a:extLst>
              <a:ext uri="{FF2B5EF4-FFF2-40B4-BE49-F238E27FC236}">
                <a16:creationId xmlns:a16="http://schemas.microsoft.com/office/drawing/2014/main" id="{2BDA0C2C-0736-46B2-9DF7-1CCFC62F4968}"/>
              </a:ext>
            </a:extLst>
          </p:cNvPr>
          <p:cNvSpPr txBox="1">
            <a:spLocks/>
          </p:cNvSpPr>
          <p:nvPr/>
        </p:nvSpPr>
        <p:spPr>
          <a:xfrm>
            <a:off x="541413" y="1186631"/>
            <a:ext cx="5554587" cy="58104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Action2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个贷违约预测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sz="1600" dirty="0">
                <a:ea typeface="宋体" panose="02010600030101010101" pitchFamily="2" charset="-122"/>
                <a:sym typeface="+mn-ea"/>
              </a:rPr>
              <a:t>数据集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A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</a:t>
            </a:r>
            <a:r>
              <a:rPr lang="zh-CN" altLang="en-US" sz="1600" b="1" dirty="0">
                <a:ea typeface="宋体" panose="02010600030101010101" pitchFamily="2" charset="-122"/>
                <a:sym typeface="+mn-ea"/>
              </a:rPr>
              <a:t>个人贷款记录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train_public.csv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训练集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万条记录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39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个指标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test_public.csv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测试集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5000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条记录</a:t>
            </a:r>
            <a:endParaRPr lang="en-US" altLang="zh-CN" sz="1600" dirty="0">
              <a:ea typeface="宋体" panose="02010600030101010101" pitchFamily="2" charset="-122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altLang="en-US" sz="1600" dirty="0">
                <a:ea typeface="宋体" panose="02010600030101010101" pitchFamily="2" charset="-122"/>
              </a:rPr>
              <a:t>其中存在匿名变量，并且对</a:t>
            </a:r>
            <a:r>
              <a:rPr lang="en-US" altLang="zh-CN" sz="1600" dirty="0" err="1">
                <a:ea typeface="宋体" panose="02010600030101010101" pitchFamily="2" charset="-122"/>
              </a:rPr>
              <a:t>employmentTitle</a:t>
            </a:r>
            <a:r>
              <a:rPr lang="zh-CN" altLang="en-US" sz="1600" dirty="0">
                <a:ea typeface="宋体" panose="02010600030101010101" pitchFamily="2" charset="-122"/>
              </a:rPr>
              <a:t>、</a:t>
            </a:r>
            <a:r>
              <a:rPr lang="en-US" altLang="zh-CN" sz="1600" dirty="0">
                <a:ea typeface="宋体" panose="02010600030101010101" pitchFamily="2" charset="-122"/>
              </a:rPr>
              <a:t>purpose</a:t>
            </a:r>
            <a:r>
              <a:rPr lang="zh-CN" altLang="en-US" sz="1600" dirty="0">
                <a:ea typeface="宋体" panose="02010600030101010101" pitchFamily="2" charset="-122"/>
              </a:rPr>
              <a:t>、</a:t>
            </a:r>
            <a:r>
              <a:rPr lang="en-US" altLang="zh-CN" sz="1600" dirty="0" err="1">
                <a:ea typeface="宋体" panose="02010600030101010101" pitchFamily="2" charset="-122"/>
              </a:rPr>
              <a:t>postCode</a:t>
            </a:r>
            <a:r>
              <a:rPr lang="zh-CN" altLang="en-US" sz="1600" dirty="0">
                <a:ea typeface="宋体" panose="02010600030101010101" pitchFamily="2" charset="-122"/>
              </a:rPr>
              <a:t>和</a:t>
            </a:r>
            <a:r>
              <a:rPr lang="en-US" altLang="zh-CN" sz="1600" dirty="0">
                <a:ea typeface="宋体" panose="02010600030101010101" pitchFamily="2" charset="-122"/>
              </a:rPr>
              <a:t>title</a:t>
            </a:r>
            <a:r>
              <a:rPr lang="zh-CN" altLang="en-US" sz="1600" dirty="0">
                <a:ea typeface="宋体" panose="02010600030101010101" pitchFamily="2" charset="-122"/>
              </a:rPr>
              <a:t>等字段进行脱敏</a:t>
            </a:r>
            <a:r>
              <a:rPr lang="zh-CN" altLang="en-US" sz="1600" dirty="0"/>
              <a:t>，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isDefault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是否违约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09221571-2A43-438E-BC8E-E550789D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inking &amp; Action</a:t>
            </a:r>
            <a:endParaRPr lang="zh-CN" altLang="en-US" dirty="0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0370CE3E-8575-4F64-BFAB-6D506E4D6157}"/>
              </a:ext>
            </a:extLst>
          </p:cNvPr>
          <p:cNvGraphicFramePr>
            <a:graphicFrameLocks noGrp="1"/>
          </p:cNvGraphicFramePr>
          <p:nvPr/>
        </p:nvGraphicFramePr>
        <p:xfrm>
          <a:off x="5926331" y="1186631"/>
          <a:ext cx="6100653" cy="521103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41481">
                  <a:extLst>
                    <a:ext uri="{9D8B030D-6E8A-4147-A177-3AD203B41FA5}">
                      <a16:colId xmlns:a16="http://schemas.microsoft.com/office/drawing/2014/main" val="3751324565"/>
                    </a:ext>
                  </a:extLst>
                </a:gridCol>
                <a:gridCol w="4359172">
                  <a:extLst>
                    <a:ext uri="{9D8B030D-6E8A-4147-A177-3AD203B41FA5}">
                      <a16:colId xmlns:a16="http://schemas.microsoft.com/office/drawing/2014/main" val="1064381050"/>
                    </a:ext>
                  </a:extLst>
                </a:gridCol>
              </a:tblGrid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字段</a:t>
                      </a:r>
                      <a:endParaRPr lang="zh-CN" altLang="en-US" sz="1200" b="1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字段描述</a:t>
                      </a:r>
                      <a:endParaRPr lang="zh-CN" altLang="en-US" sz="1200" b="1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86088459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loan_id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贷款记录唯一标识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5933852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user_id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借款人唯一标识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904059827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total_loa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数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780706040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year_of_loa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年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338040447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nteres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当前贷款利率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793859522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monthly_paymen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分期付款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87163453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gra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级别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4191800993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employment_typ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所在公司类型（世界五百强、国有企业、普通企业</a:t>
                      </a:r>
                      <a:r>
                        <a:rPr lang="en-US" altLang="zh-CN" sz="1200" u="none" strike="noStrike" dirty="0">
                          <a:effectLst/>
                        </a:rPr>
                        <a:t>…</a:t>
                      </a:r>
                      <a:r>
                        <a:rPr lang="zh-CN" altLang="en-US" sz="1200" u="none" strike="noStrike" dirty="0">
                          <a:effectLst/>
                        </a:rPr>
                        <a:t>）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622271340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ndustry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工作领域（传统工业、商业、互联网、金融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41722785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work_year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工作年限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9412544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home_exis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是否有房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889624135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censor_statu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审核情况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064092333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ssue_mont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发放的月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797052835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us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用途类别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85669289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post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贷款人申请时邮政编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98910355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regio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地区编码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665683183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debt_loan_ratio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债务收入比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87996558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del_in_18mont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借款人过去</a:t>
                      </a:r>
                      <a:r>
                        <a:rPr lang="en-US" altLang="zh-CN" sz="1200" u="none" strike="noStrike">
                          <a:effectLst/>
                        </a:rPr>
                        <a:t>18</a:t>
                      </a:r>
                      <a:r>
                        <a:rPr lang="zh-CN" altLang="en-US" sz="1200" u="none" strike="noStrike">
                          <a:effectLst/>
                        </a:rPr>
                        <a:t>个月逾期</a:t>
                      </a:r>
                      <a:r>
                        <a:rPr lang="en-US" altLang="zh-CN" sz="1200" u="none" strike="noStrike">
                          <a:effectLst/>
                        </a:rPr>
                        <a:t>30</a:t>
                      </a:r>
                      <a:r>
                        <a:rPr lang="zh-CN" altLang="en-US" sz="1200" u="none" strike="noStrike">
                          <a:effectLst/>
                        </a:rPr>
                        <a:t>天以上的违约事件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636147961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scoring_low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借款人在贷款评分中所属的下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796842128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scoring_hig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借款人在贷款评分中所属的上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429610849"/>
                  </a:ext>
                </a:extLst>
              </a:tr>
              <a:tr h="3157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known_outstanding_loa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借款人档案中未结信用额度的数量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197864871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known_dero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贬损公共记录的数量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533676731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pub_dero_bankrup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公开记录清除的数量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2843961129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recircle_bal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信贷周转余额合计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3234858306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recircle_util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循环额度利用率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4189817646"/>
                  </a:ext>
                </a:extLst>
              </a:tr>
              <a:tr h="1882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initial_list_status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贷款的初始列表状态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587" marR="2587" marT="2587" marB="0" anchor="ctr"/>
                </a:tc>
                <a:extLst>
                  <a:ext uri="{0D108BD9-81ED-4DB2-BD59-A6C34878D82A}">
                    <a16:rowId xmlns:a16="http://schemas.microsoft.com/office/drawing/2014/main" val="509855613"/>
                  </a:ext>
                </a:extLst>
              </a:tr>
            </a:tbl>
          </a:graphicData>
        </a:graphic>
      </p:graphicFrame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B19EFDB0-E7D1-450A-B079-128DA562DEA2}"/>
              </a:ext>
            </a:extLst>
          </p:cNvPr>
          <p:cNvGraphicFramePr>
            <a:graphicFrameLocks noGrp="1"/>
          </p:cNvGraphicFramePr>
          <p:nvPr/>
        </p:nvGraphicFramePr>
        <p:xfrm>
          <a:off x="388472" y="4356844"/>
          <a:ext cx="5426632" cy="207250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82766">
                  <a:extLst>
                    <a:ext uri="{9D8B030D-6E8A-4147-A177-3AD203B41FA5}">
                      <a16:colId xmlns:a16="http://schemas.microsoft.com/office/drawing/2014/main" val="245251678"/>
                    </a:ext>
                  </a:extLst>
                </a:gridCol>
                <a:gridCol w="3843866">
                  <a:extLst>
                    <a:ext uri="{9D8B030D-6E8A-4147-A177-3AD203B41FA5}">
                      <a16:colId xmlns:a16="http://schemas.microsoft.com/office/drawing/2014/main" val="1352988678"/>
                    </a:ext>
                  </a:extLst>
                </a:gridCol>
              </a:tblGrid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app_type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是否个人申请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648591993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ies_credit_mo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借款人最早报告的信用额度开立的月份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723220788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titl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提供的贷款名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84803525"/>
                  </a:ext>
                </a:extLst>
              </a:tr>
              <a:tr h="2660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olicy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公开可用的策略</a:t>
                      </a:r>
                      <a:r>
                        <a:rPr lang="en-US" altLang="zh-CN" sz="1200" u="none" strike="noStrike">
                          <a:effectLst/>
                        </a:rPr>
                        <a:t>_</a:t>
                      </a:r>
                      <a:r>
                        <a:rPr lang="zh-CN" altLang="en-US" sz="1200" u="none" strike="noStrike">
                          <a:effectLst/>
                        </a:rPr>
                        <a:t>代码</a:t>
                      </a:r>
                      <a:r>
                        <a:rPr lang="en-US" altLang="zh-CN" sz="1200" u="none" strike="noStrike">
                          <a:effectLst/>
                        </a:rPr>
                        <a:t>=1</a:t>
                      </a:r>
                      <a:r>
                        <a:rPr lang="zh-CN" altLang="en-US" sz="1200" u="none" strike="noStrike">
                          <a:effectLst/>
                        </a:rPr>
                        <a:t>新产品不公开可用的策略</a:t>
                      </a:r>
                      <a:r>
                        <a:rPr lang="en-US" altLang="zh-CN" sz="1200" u="none" strike="noStrike">
                          <a:effectLst/>
                        </a:rPr>
                        <a:t>_</a:t>
                      </a:r>
                      <a:r>
                        <a:rPr lang="zh-CN" altLang="en-US" sz="1200" u="none" strike="noStrike">
                          <a:effectLst/>
                        </a:rPr>
                        <a:t>代码</a:t>
                      </a:r>
                      <a:r>
                        <a:rPr lang="en-US" altLang="zh-CN" sz="1200" u="none" strike="noStrike">
                          <a:effectLst/>
                        </a:rPr>
                        <a:t>=2</a:t>
                      </a:r>
                      <a:endParaRPr lang="en-US" altLang="zh-CN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466635826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f</a:t>
                      </a:r>
                      <a:r>
                        <a:rPr lang="zh-CN" altLang="en-US" sz="1200" u="none" strike="noStrike">
                          <a:effectLst/>
                        </a:rPr>
                        <a:t>系列匿名特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匿名特征</a:t>
                      </a:r>
                      <a:r>
                        <a:rPr lang="en-US" altLang="zh-CN" sz="1200" u="none" strike="noStrike">
                          <a:effectLst/>
                        </a:rPr>
                        <a:t>f0-f4</a:t>
                      </a:r>
                      <a:r>
                        <a:rPr lang="zh-CN" altLang="en-US" sz="1200" u="none" strike="noStrike">
                          <a:effectLst/>
                        </a:rPr>
                        <a:t>，为一些贷款人行为计数特征的处理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4104367091"/>
                  </a:ext>
                </a:extLst>
              </a:tr>
              <a:tr h="2208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提前还款次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214404402"/>
                  </a:ext>
                </a:extLst>
              </a:tr>
              <a:tr h="2660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_amoun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贷款人提前还款累积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484386279"/>
                  </a:ext>
                </a:extLst>
              </a:tr>
              <a:tr h="4361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early_return_amount_3mo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近</a:t>
                      </a:r>
                      <a:r>
                        <a:rPr lang="en-US" altLang="zh-CN" sz="1200" u="none" strike="noStrike" dirty="0">
                          <a:effectLst/>
                        </a:rPr>
                        <a:t>3</a:t>
                      </a:r>
                      <a:r>
                        <a:rPr lang="zh-CN" altLang="en-US" sz="1200" u="none" strike="noStrike" dirty="0">
                          <a:effectLst/>
                        </a:rPr>
                        <a:t>个月内提前还款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173054216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473743513"/>
      </p:ext>
    </p:extLst>
  </p:cSld>
  <p:clrMapOvr>
    <a:masterClrMapping/>
  </p:clrMapOvr>
  <p:transition spd="med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2AED13A-748C-422F-B53C-060E6FCF1FB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幻灯片" r:id="rId5" imgW="463" imgH="464" progId="TCLayout.ActiveDocument.1">
                  <p:embed/>
                </p:oleObj>
              </mc:Choice>
              <mc:Fallback>
                <p:oleObj name="think-cell 幻灯片" r:id="rId5" imgW="463" imgH="464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2AED13A-748C-422F-B53C-060E6FCF1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1">
            <a:extLst>
              <a:ext uri="{FF2B5EF4-FFF2-40B4-BE49-F238E27FC236}">
                <a16:creationId xmlns:a16="http://schemas.microsoft.com/office/drawing/2014/main" id="{2BDA0C2C-0736-46B2-9DF7-1CCFC62F4968}"/>
              </a:ext>
            </a:extLst>
          </p:cNvPr>
          <p:cNvSpPr txBox="1">
            <a:spLocks/>
          </p:cNvSpPr>
          <p:nvPr/>
        </p:nvSpPr>
        <p:spPr>
          <a:xfrm>
            <a:off x="478592" y="1319619"/>
            <a:ext cx="5554587" cy="45655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数据集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B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</a:t>
            </a:r>
            <a:r>
              <a:rPr lang="zh-CN" altLang="en-US" sz="1600" b="1" dirty="0">
                <a:ea typeface="宋体" panose="02010600030101010101" pitchFamily="2" charset="-122"/>
                <a:sym typeface="+mn-ea"/>
              </a:rPr>
              <a:t>网络信用贷 网络贷款记录</a:t>
            </a:r>
            <a:endParaRPr lang="en-US" altLang="zh-CN" sz="1600" b="1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train_internet.csv 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75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万条网络贷款记录，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43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个指标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isDefault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：是否违约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EB22EAF-B7BE-4205-BD61-745B01CD8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inking &amp; Action</a:t>
            </a:r>
            <a:endParaRPr lang="zh-CN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8CAFAC7B-3E09-4D2E-811D-B8B79620DE00}"/>
              </a:ext>
            </a:extLst>
          </p:cNvPr>
          <p:cNvGraphicFramePr>
            <a:graphicFrameLocks noGrp="1"/>
          </p:cNvGraphicFramePr>
          <p:nvPr/>
        </p:nvGraphicFramePr>
        <p:xfrm>
          <a:off x="5766264" y="1155622"/>
          <a:ext cx="5917733" cy="552233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31430">
                  <a:extLst>
                    <a:ext uri="{9D8B030D-6E8A-4147-A177-3AD203B41FA5}">
                      <a16:colId xmlns:a16="http://schemas.microsoft.com/office/drawing/2014/main" val="1247111460"/>
                    </a:ext>
                  </a:extLst>
                </a:gridCol>
                <a:gridCol w="3986303">
                  <a:extLst>
                    <a:ext uri="{9D8B030D-6E8A-4147-A177-3AD203B41FA5}">
                      <a16:colId xmlns:a16="http://schemas.microsoft.com/office/drawing/2014/main" val="3261904152"/>
                    </a:ext>
                  </a:extLst>
                </a:gridCol>
              </a:tblGrid>
              <a:tr h="20222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字段</a:t>
                      </a:r>
                      <a:endParaRPr lang="zh-CN" altLang="en-US" sz="1200" b="1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>
                          <a:effectLst/>
                        </a:rPr>
                        <a:t>字段描述</a:t>
                      </a:r>
                      <a:endParaRPr lang="zh-CN" altLang="en-US" sz="1200" b="1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413290901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loan_id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记录唯一标识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197494492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user_id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用户唯一标识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698941678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total_loa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920595537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year_of_loa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期限（</a:t>
                      </a:r>
                      <a:r>
                        <a:rPr lang="en-US" altLang="zh-CN" sz="1200" u="none" strike="noStrike">
                          <a:effectLst/>
                        </a:rPr>
                        <a:t>year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985025632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interes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利率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753018895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monthly_payment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分期付款金额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49977439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clas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等级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93382073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sub_clas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等级之子级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060341305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work_typ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工作类型（公务员、企业白领、创业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4040662605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employment_typ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所在公司类型（世界五百强、国有企业、普通企业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103304979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industry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工作领域（传统工业、商业、互联网、金融</a:t>
                      </a:r>
                      <a:r>
                        <a:rPr lang="en-US" altLang="zh-CN" sz="1200" u="none" strike="noStrike">
                          <a:effectLst/>
                        </a:rPr>
                        <a:t>…</a:t>
                      </a:r>
                      <a:r>
                        <a:rPr lang="zh-CN" altLang="en-US" sz="1200" u="none" strike="noStrike">
                          <a:effectLst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796989458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work_year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就业年限（年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528094225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house_ownership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是否有房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49703640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house_loan_statu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房屋贷款状况（无房贷、正在还房贷、已经还完房贷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954431839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censor_status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验证状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918786609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marriag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婚姻状态（未婚、已婚、离异、丧偶）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855706334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offsprings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子女状态</a:t>
                      </a:r>
                      <a:r>
                        <a:rPr lang="en-US" altLang="zh-CN" sz="1200" u="none" strike="noStrike">
                          <a:effectLst/>
                        </a:rPr>
                        <a:t>(</a:t>
                      </a:r>
                      <a:r>
                        <a:rPr lang="zh-CN" altLang="en-US" sz="1200" u="none" strike="noStrike">
                          <a:effectLst/>
                        </a:rPr>
                        <a:t>无子女、学前、小学、中学、大学、工作</a:t>
                      </a:r>
                      <a:r>
                        <a:rPr lang="en-US" altLang="zh-CN" sz="1200" u="none" strike="noStrike">
                          <a:effectLst/>
                        </a:rPr>
                        <a:t>)</a:t>
                      </a:r>
                      <a:endParaRPr lang="en-US" altLang="zh-CN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181746959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issue_date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发放的月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85695136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use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贷款用途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165833843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ost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邮政编码的前</a:t>
                      </a:r>
                      <a:r>
                        <a:rPr lang="en-US" altLang="zh-CN" sz="1200" u="none" strike="noStrike">
                          <a:effectLst/>
                        </a:rPr>
                        <a:t>3</a:t>
                      </a:r>
                      <a:r>
                        <a:rPr lang="zh-CN" altLang="en-US" sz="1200" u="none" strike="noStrike">
                          <a:effectLst/>
                        </a:rPr>
                        <a:t>位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2374623212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region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地区编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194470326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debt_loan_ratio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债务收入比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028005881"/>
                  </a:ext>
                </a:extLst>
              </a:tr>
              <a:tr h="21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del_in_18month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借款人过去</a:t>
                      </a:r>
                      <a:r>
                        <a:rPr lang="en-US" altLang="zh-CN" sz="1200" u="none" strike="noStrike" dirty="0">
                          <a:effectLst/>
                        </a:rPr>
                        <a:t>18</a:t>
                      </a:r>
                      <a:r>
                        <a:rPr lang="zh-CN" altLang="en-US" sz="1200" u="none" strike="noStrike" dirty="0">
                          <a:effectLst/>
                        </a:rPr>
                        <a:t>个月信用档案中逾期</a:t>
                      </a:r>
                      <a:r>
                        <a:rPr lang="en-US" altLang="zh-CN" sz="1200" u="none" strike="noStrike" dirty="0">
                          <a:effectLst/>
                        </a:rPr>
                        <a:t>60</a:t>
                      </a:r>
                      <a:r>
                        <a:rPr lang="zh-CN" altLang="en-US" sz="1200" u="none" strike="noStrike" dirty="0">
                          <a:effectLst/>
                        </a:rPr>
                        <a:t>天内的违约事件数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789251718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scoring_low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在信用评分系统所属的下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873761201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scoring_high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在信用评分系统所属的上限范围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607519107"/>
                  </a:ext>
                </a:extLst>
              </a:tr>
              <a:tr h="2022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pub_dero_bankrup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公开记录清除的数量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705205321"/>
                  </a:ext>
                </a:extLst>
              </a:tr>
            </a:tbl>
          </a:graphicData>
        </a:graphic>
      </p:graphicFrame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70495486-C13C-4A0A-BD48-1A105ECEAA8A}"/>
              </a:ext>
            </a:extLst>
          </p:cNvPr>
          <p:cNvGraphicFramePr>
            <a:graphicFrameLocks noGrp="1"/>
          </p:cNvGraphicFramePr>
          <p:nvPr/>
        </p:nvGraphicFramePr>
        <p:xfrm>
          <a:off x="562908" y="3533309"/>
          <a:ext cx="4493186" cy="314464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74887">
                  <a:extLst>
                    <a:ext uri="{9D8B030D-6E8A-4147-A177-3AD203B41FA5}">
                      <a16:colId xmlns:a16="http://schemas.microsoft.com/office/drawing/2014/main" val="892795896"/>
                    </a:ext>
                  </a:extLst>
                </a:gridCol>
                <a:gridCol w="3118299">
                  <a:extLst>
                    <a:ext uri="{9D8B030D-6E8A-4147-A177-3AD203B41FA5}">
                      <a16:colId xmlns:a16="http://schemas.microsoft.com/office/drawing/2014/main" val="832540296"/>
                    </a:ext>
                  </a:extLst>
                </a:gridCol>
              </a:tblGrid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提前还款次数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775367793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early_return_amount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提前还款累积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3109730301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early_return_amount_3mon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近</a:t>
                      </a:r>
                      <a:r>
                        <a:rPr lang="en-US" altLang="zh-CN" sz="1200" u="none" strike="noStrike" dirty="0">
                          <a:effectLst/>
                        </a:rPr>
                        <a:t>3</a:t>
                      </a:r>
                      <a:r>
                        <a:rPr lang="zh-CN" altLang="en-US" sz="1200" u="none" strike="noStrike" dirty="0">
                          <a:effectLst/>
                        </a:rPr>
                        <a:t>个月内提前还款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2025" marR="2025" marT="2025" marB="0" anchor="ctr"/>
                </a:tc>
                <a:extLst>
                  <a:ext uri="{0D108BD9-81ED-4DB2-BD59-A6C34878D82A}">
                    <a16:rowId xmlns:a16="http://schemas.microsoft.com/office/drawing/2014/main" val="1296893454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</a:rPr>
                        <a:t>recircle_bal</a:t>
                      </a:r>
                      <a:endParaRPr 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信贷周转余额合计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399856531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recircle_util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循环额度利用率，或借款人使用的相对于所有可用循环信贷的信贷金额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529061640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initial_list_status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网络贷款的初始列表状态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904525919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earlies_credit_lin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网络贷款信用额度开立的月份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64528906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titl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借款人提供的网络贷款名称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733618915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olicy_code</a:t>
                      </a:r>
                      <a:endParaRPr 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公开策略</a:t>
                      </a:r>
                      <a:r>
                        <a:rPr lang="en-US" altLang="zh-CN" sz="1200" u="none" strike="noStrike">
                          <a:effectLst/>
                        </a:rPr>
                        <a:t>=1</a:t>
                      </a:r>
                      <a:r>
                        <a:rPr lang="zh-CN" altLang="en-US" sz="1200" u="none" strike="noStrike">
                          <a:effectLst/>
                        </a:rPr>
                        <a:t>不公开策略</a:t>
                      </a:r>
                      <a:r>
                        <a:rPr lang="en-US" altLang="zh-CN" sz="1200" u="none" strike="noStrike">
                          <a:effectLst/>
                        </a:rPr>
                        <a:t>=2</a:t>
                      </a:r>
                      <a:endParaRPr lang="en-US" altLang="zh-CN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4215458456"/>
                  </a:ext>
                </a:extLst>
              </a:tr>
              <a:tr h="290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f</a:t>
                      </a:r>
                      <a:r>
                        <a:rPr lang="zh-CN" altLang="en-US" sz="1200" u="none" strike="noStrike">
                          <a:effectLst/>
                        </a:rPr>
                        <a:t>系列匿名特征</a:t>
                      </a:r>
                      <a:endParaRPr lang="zh-CN" altLang="en-US" sz="1200" b="0" i="0" u="none" strike="noStrike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匿名特征</a:t>
                      </a:r>
                      <a:r>
                        <a:rPr lang="en-US" altLang="zh-CN" sz="1200" u="none" strike="noStrike" dirty="0">
                          <a:effectLst/>
                        </a:rPr>
                        <a:t>f0-f5</a:t>
                      </a:r>
                      <a:r>
                        <a:rPr lang="zh-CN" altLang="en-US" sz="1200" u="none" strike="noStrike" dirty="0">
                          <a:effectLst/>
                        </a:rPr>
                        <a:t>，为一些网络贷款人行为计数特征的处理</a:t>
                      </a:r>
                      <a:endParaRPr lang="zh-CN" altLang="en-US" sz="1200" b="0" i="0" u="none" strike="noStrike" dirty="0">
                        <a:solidFill>
                          <a:srgbClr val="666666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995831904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236705393"/>
      </p:ext>
    </p:extLst>
  </p:cSld>
  <p:clrMapOvr>
    <a:masterClrMapping/>
  </p:clrMapOvr>
  <p:transition spd="med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62AED13A-748C-422F-B53C-060E6FCF1FB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幻灯片" r:id="rId5" imgW="463" imgH="464" progId="TCLayout.ActiveDocument.1">
                  <p:embed/>
                </p:oleObj>
              </mc:Choice>
              <mc:Fallback>
                <p:oleObj name="think-cell 幻灯片" r:id="rId5" imgW="463" imgH="464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62AED13A-748C-422F-B53C-060E6FCF1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1">
            <a:extLst>
              <a:ext uri="{FF2B5EF4-FFF2-40B4-BE49-F238E27FC236}">
                <a16:creationId xmlns:a16="http://schemas.microsoft.com/office/drawing/2014/main" id="{13FA2AD1-8993-42EA-A7CE-A638805527D2}"/>
              </a:ext>
            </a:extLst>
          </p:cNvPr>
          <p:cNvSpPr txBox="1">
            <a:spLocks/>
          </p:cNvSpPr>
          <p:nvPr/>
        </p:nvSpPr>
        <p:spPr>
          <a:xfrm>
            <a:off x="755555" y="1119442"/>
            <a:ext cx="4515436" cy="49509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70000"/>
              </a:lnSpc>
              <a:buNone/>
            </a:pP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A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、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B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数据集之间存在大量相同的字段和极少的共同用户，用户基本信息与违约行为之间的关联，在不同业务场景中往往都是相似的。因此，我们可以利用</a:t>
            </a:r>
            <a:r>
              <a:rPr lang="zh-CN" altLang="en-US" sz="1600" b="1" dirty="0">
                <a:ea typeface="宋体" panose="02010600030101010101" pitchFamily="2" charset="-122"/>
                <a:sym typeface="+mn-ea"/>
              </a:rPr>
              <a:t>迁移学习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捕捉来自其他业务的，用户基本信息与违约行为之间的关联，帮助实现对用户贷款违约的预测。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选手需要提交 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submission.csv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到比赛平台，根据评估得分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AUC)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得到排名。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zh-CN" altLang="en-US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273C7ED-C5F3-406B-9325-1E145789453C}"/>
              </a:ext>
            </a:extLst>
          </p:cNvPr>
          <p:cNvSpPr txBox="1"/>
          <p:nvPr/>
        </p:nvSpPr>
        <p:spPr>
          <a:xfrm>
            <a:off x="8794992" y="4921008"/>
            <a:ext cx="698016" cy="54445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4045525A-0A16-4DFB-A89F-C875775A70D1}"/>
              </a:ext>
            </a:extLst>
          </p:cNvPr>
          <p:cNvGraphicFramePr>
            <a:graphicFrameLocks noGrp="1"/>
          </p:cNvGraphicFramePr>
          <p:nvPr/>
        </p:nvGraphicFramePr>
        <p:xfrm>
          <a:off x="6964626" y="4203770"/>
          <a:ext cx="3681841" cy="1261690"/>
        </p:xfrm>
        <a:graphic>
          <a:graphicData uri="http://schemas.openxmlformats.org/drawingml/2006/table">
            <a:tbl>
              <a:tblPr/>
              <a:tblGrid>
                <a:gridCol w="2500463">
                  <a:extLst>
                    <a:ext uri="{9D8B030D-6E8A-4147-A177-3AD203B41FA5}">
                      <a16:colId xmlns:a16="http://schemas.microsoft.com/office/drawing/2014/main" val="1201619583"/>
                    </a:ext>
                  </a:extLst>
                </a:gridCol>
                <a:gridCol w="1181378">
                  <a:extLst>
                    <a:ext uri="{9D8B030D-6E8A-4147-A177-3AD203B41FA5}">
                      <a16:colId xmlns:a16="http://schemas.microsoft.com/office/drawing/2014/main" val="2895276173"/>
                    </a:ext>
                  </a:extLst>
                </a:gridCol>
              </a:tblGrid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i="0" dirty="0" err="1">
                          <a:effectLst/>
                        </a:rPr>
                        <a:t>u</a:t>
                      </a:r>
                      <a:r>
                        <a:rPr lang="en-US" sz="1400" b="1" i="0" dirty="0" err="1">
                          <a:effectLst/>
                        </a:rPr>
                        <a:t>serId</a:t>
                      </a:r>
                      <a:endParaRPr lang="en-US" sz="1400" b="1" i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 err="1">
                          <a:effectLst/>
                        </a:rPr>
                        <a:t>isDefault</a:t>
                      </a:r>
                      <a:endParaRPr lang="en-US" sz="1400" b="1" i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336057"/>
                  </a:ext>
                </a:extLst>
              </a:tr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0001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dirty="0">
                          <a:effectLst/>
                        </a:rPr>
                        <a:t>1</a:t>
                      </a:r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4079480"/>
                  </a:ext>
                </a:extLst>
              </a:tr>
              <a:tr h="287442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0002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dirty="0">
                          <a:effectLst/>
                        </a:rPr>
                        <a:t>1</a:t>
                      </a:r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686449"/>
                  </a:ext>
                </a:extLst>
              </a:tr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0003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dirty="0">
                          <a:effectLst/>
                        </a:rPr>
                        <a:t>0</a:t>
                      </a:r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653227"/>
                  </a:ext>
                </a:extLst>
              </a:tr>
              <a:tr h="161248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effectLst/>
                        </a:rPr>
                        <a:t>…</a:t>
                      </a: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effectLst/>
                      </a:endParaRPr>
                    </a:p>
                  </a:txBody>
                  <a:tcPr marL="20135" marR="20135" marT="15101" marB="15101" anchor="ctr">
                    <a:lnL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077810"/>
                  </a:ext>
                </a:extLst>
              </a:tr>
            </a:tbl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CCD9B5F8-60B2-49A8-B87C-F87CB06E68F2}"/>
              </a:ext>
            </a:extLst>
          </p:cNvPr>
          <p:cNvSpPr txBox="1"/>
          <p:nvPr/>
        </p:nvSpPr>
        <p:spPr>
          <a:xfrm>
            <a:off x="8979966" y="2092197"/>
            <a:ext cx="19195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其他信用贷产品</a:t>
            </a:r>
            <a:endParaRPr lang="en-US" altLang="zh-CN" dirty="0"/>
          </a:p>
          <a:p>
            <a:pPr algn="ctr"/>
            <a:r>
              <a:rPr lang="zh-CN" altLang="en-US" dirty="0"/>
              <a:t>数据（网络贷款）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35A7A3F-554A-412D-8619-E9FE318E4B1F}"/>
              </a:ext>
            </a:extLst>
          </p:cNvPr>
          <p:cNvSpPr txBox="1"/>
          <p:nvPr/>
        </p:nvSpPr>
        <p:spPr>
          <a:xfrm>
            <a:off x="6011751" y="2092198"/>
            <a:ext cx="19195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银行贷款产品</a:t>
            </a:r>
            <a:endParaRPr lang="en-US" altLang="zh-CN" dirty="0"/>
          </a:p>
          <a:p>
            <a:pPr algn="ctr"/>
            <a:r>
              <a:rPr lang="zh-CN" altLang="en-US" dirty="0"/>
              <a:t>数据</a:t>
            </a:r>
          </a:p>
        </p:txBody>
      </p:sp>
      <p:sp>
        <p:nvSpPr>
          <p:cNvPr id="6" name="箭头: 手杖形 5">
            <a:extLst>
              <a:ext uri="{FF2B5EF4-FFF2-40B4-BE49-F238E27FC236}">
                <a16:creationId xmlns:a16="http://schemas.microsoft.com/office/drawing/2014/main" id="{89D3586F-D5DD-4457-A1D8-16D3DFE17856}"/>
              </a:ext>
            </a:extLst>
          </p:cNvPr>
          <p:cNvSpPr/>
          <p:nvPr/>
        </p:nvSpPr>
        <p:spPr>
          <a:xfrm rot="10800000">
            <a:off x="6868470" y="2732523"/>
            <a:ext cx="3071267" cy="646331"/>
          </a:xfrm>
          <a:prstGeom prst="uturnArrow">
            <a:avLst>
              <a:gd name="adj1" fmla="val 25000"/>
              <a:gd name="adj2" fmla="val 23125"/>
              <a:gd name="adj3" fmla="val 25000"/>
              <a:gd name="adj4" fmla="val 43750"/>
              <a:gd name="adj5" fmla="val 75000"/>
            </a:avLst>
          </a:prstGeom>
          <a:solidFill>
            <a:srgbClr val="FFBC00"/>
          </a:solidFill>
          <a:ln>
            <a:solidFill>
              <a:srgbClr val="FFB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2006C16-B893-4E34-9896-88D96F46A355}"/>
              </a:ext>
            </a:extLst>
          </p:cNvPr>
          <p:cNvSpPr txBox="1"/>
          <p:nvPr/>
        </p:nvSpPr>
        <p:spPr>
          <a:xfrm>
            <a:off x="8138858" y="2871023"/>
            <a:ext cx="1312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ED7D30"/>
                </a:solidFill>
              </a:rPr>
              <a:t>迁移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1DB2CB0-8CC0-4401-8076-F92BD5EEECDB}"/>
              </a:ext>
            </a:extLst>
          </p:cNvPr>
          <p:cNvSpPr txBox="1"/>
          <p:nvPr/>
        </p:nvSpPr>
        <p:spPr>
          <a:xfrm>
            <a:off x="7887572" y="3378853"/>
            <a:ext cx="1312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ED7D30"/>
                </a:solidFill>
              </a:rPr>
              <a:t>特征、关联</a:t>
            </a: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6DDA370C-E0C9-4ABC-848F-73AB3C325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inking &amp; Action</a:t>
            </a: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6615933"/>
      </p:ext>
    </p:extLst>
  </p:cSld>
  <p:clrMapOvr>
    <a:masterClrMapping/>
  </p:clrMapOvr>
  <p:transition spd="med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875280" y="2160270"/>
            <a:ext cx="7484745" cy="1801495"/>
          </a:xfrm>
        </p:spPr>
        <p:txBody>
          <a:bodyPr>
            <a:noAutofit/>
          </a:bodyPr>
          <a:lstStyle/>
          <a:p>
            <a:pPr algn="ctr"/>
            <a:r>
              <a:rPr lang="en-US" sz="6000" dirty="0"/>
              <a:t>Thank You</a:t>
            </a:r>
            <a:br>
              <a:rPr lang="en-US" sz="6000" dirty="0"/>
            </a:br>
            <a:r>
              <a:rPr lang="en-US" sz="4800" dirty="0"/>
              <a:t>Using data to solve problems</a:t>
            </a:r>
          </a:p>
        </p:txBody>
      </p:sp>
    </p:spTree>
  </p:cSld>
  <p:clrMapOvr>
    <a:masterClrMapping/>
  </p:clrMapOvr>
  <p:transition spd="med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zh-CN" dirty="0">
                <a:ea typeface="宋体" panose="02010600030101010101" pitchFamily="2" charset="-122"/>
                <a:sym typeface="+mn-ea"/>
              </a:rPr>
              <a:t>工作中的应用</a:t>
            </a:r>
            <a:endParaRPr lang="zh-CN" altLang="en-US" dirty="0">
              <a:ea typeface="宋体" panose="02010600030101010101" pitchFamily="2" charset="-122"/>
              <a:sym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2C7E3C0-FD7D-4C89-9464-688F617F07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307" y="1262211"/>
            <a:ext cx="5100232" cy="534785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CC0BF4BA-F42B-49E0-B220-4B863A8DC6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9458" y="1262211"/>
            <a:ext cx="5747235" cy="5465683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4927220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Cas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银行客户定期存款预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https://www.kaggle.com/c/bankdirectmarketing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葡萄牙银行，开展营销活动吸引更多人认购定期存款，通过营销活动沉淀的数据，想要预测未来这些人是否会进行认购，方便进行精准营销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训练集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rain.csv 4459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条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测试集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est.csv 49342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条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02F61775-64CE-4A29-B6B3-2A3C06D0D14B}"/>
              </a:ext>
            </a:extLst>
          </p:cNvPr>
          <p:cNvSpPr txBox="1">
            <a:spLocks/>
          </p:cNvSpPr>
          <p:nvPr/>
        </p:nvSpPr>
        <p:spPr>
          <a:xfrm>
            <a:off x="10892117" y="1425127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客户基本信息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F1CCF575-6A3C-4A32-BEDE-62C363924DF8}"/>
              </a:ext>
            </a:extLst>
          </p:cNvPr>
          <p:cNvGraphicFramePr>
            <a:graphicFrameLocks noGrp="1"/>
          </p:cNvGraphicFramePr>
          <p:nvPr/>
        </p:nvGraphicFramePr>
        <p:xfrm>
          <a:off x="5478560" y="1276889"/>
          <a:ext cx="5398622" cy="529799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238998">
                  <a:extLst>
                    <a:ext uri="{9D8B030D-6E8A-4147-A177-3AD203B41FA5}">
                      <a16:colId xmlns:a16="http://schemas.microsoft.com/office/drawing/2014/main" val="67318140"/>
                    </a:ext>
                  </a:extLst>
                </a:gridCol>
                <a:gridCol w="4159624">
                  <a:extLst>
                    <a:ext uri="{9D8B030D-6E8A-4147-A177-3AD203B41FA5}">
                      <a16:colId xmlns:a16="http://schemas.microsoft.com/office/drawing/2014/main" val="3496600605"/>
                    </a:ext>
                  </a:extLst>
                </a:gridCol>
              </a:tblGrid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字段</a:t>
                      </a:r>
                      <a:endParaRPr lang="en-US" altLang="zh-CN" sz="1400" u="none" strike="noStrike" dirty="0">
                        <a:effectLst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说明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468683520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g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年龄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01910122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job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职业：</a:t>
                      </a:r>
                      <a:r>
                        <a:rPr lang="en-US" sz="1400" u="none" strike="noStrike" dirty="0">
                          <a:effectLst/>
                        </a:rPr>
                        <a:t>admin, unknown, unemployed, management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16760367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ar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婚姻：</a:t>
                      </a:r>
                      <a:r>
                        <a:rPr lang="en-US" sz="1400" u="none" strike="noStrike">
                          <a:effectLst/>
                        </a:rPr>
                        <a:t>married, divorced, sing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16031445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efaul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信用卡是否有违约</a:t>
                      </a:r>
                      <a:r>
                        <a:rPr lang="en-US" altLang="zh-CN" sz="1400" u="none" strike="noStrike">
                          <a:effectLst/>
                        </a:rPr>
                        <a:t>: </a:t>
                      </a:r>
                      <a:r>
                        <a:rPr lang="en-US" sz="1400" u="none" strike="noStrike">
                          <a:effectLst/>
                        </a:rPr>
                        <a:t>yes or 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989109536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housi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是否有房贷</a:t>
                      </a:r>
                      <a:r>
                        <a:rPr lang="en-US" altLang="zh-CN" sz="1400" u="none" strike="noStrike">
                          <a:effectLst/>
                        </a:rPr>
                        <a:t>: </a:t>
                      </a:r>
                      <a:r>
                        <a:rPr lang="en-US" sz="1400" u="none" strike="noStrike">
                          <a:effectLst/>
                        </a:rPr>
                        <a:t>yes or 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414579661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ontac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联系方式：</a:t>
                      </a:r>
                      <a:r>
                        <a:rPr lang="en-US" sz="1400" u="none" strike="noStrike">
                          <a:effectLst/>
                        </a:rPr>
                        <a:t>unknown, telephone, cellula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318391914"/>
                  </a:ext>
                </a:extLst>
              </a:tr>
              <a:tr h="29526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ont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上一次联系的月份：</a:t>
                      </a:r>
                      <a:r>
                        <a:rPr lang="en-US" sz="1400" u="none" strike="noStrike" dirty="0" err="1">
                          <a:effectLst/>
                        </a:rPr>
                        <a:t>jan</a:t>
                      </a:r>
                      <a:r>
                        <a:rPr lang="en-US" sz="1400" u="none" strike="noStrike" dirty="0">
                          <a:effectLst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</a:rPr>
                        <a:t>feb</a:t>
                      </a:r>
                      <a:r>
                        <a:rPr lang="en-US" sz="1400" u="none" strike="noStrike" dirty="0">
                          <a:effectLst/>
                        </a:rPr>
                        <a:t>, mar, 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426055908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ay_of_week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上一次联系的星期几：</a:t>
                      </a:r>
                      <a:r>
                        <a:rPr lang="en-US" sz="1400" u="none" strike="noStrike" dirty="0" err="1">
                          <a:effectLst/>
                        </a:rPr>
                        <a:t>mon</a:t>
                      </a:r>
                      <a:r>
                        <a:rPr lang="en-US" sz="1400" u="none" strike="noStrike" dirty="0">
                          <a:effectLst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</a:rPr>
                        <a:t>tue</a:t>
                      </a:r>
                      <a:r>
                        <a:rPr lang="en-US" sz="1400" u="none" strike="noStrike" dirty="0">
                          <a:effectLst/>
                        </a:rPr>
                        <a:t>, wed, </a:t>
                      </a:r>
                      <a:r>
                        <a:rPr lang="en-US" sz="1400" u="none" strike="noStrike" dirty="0" err="1">
                          <a:effectLst/>
                        </a:rPr>
                        <a:t>thu</a:t>
                      </a:r>
                      <a:r>
                        <a:rPr lang="en-US" sz="1400" u="none" strike="noStrike" dirty="0">
                          <a:effectLst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</a:rPr>
                        <a:t>fri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68894790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uratio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上一次联系的时长（秒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798797493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ampaig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活动期间联系客户的次数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801117048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day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上一次与客户联系后的间隔天数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767760885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reviou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在本次营销活动前，与客户联系的次数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908102953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poutcom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之前营销活动的结果：</a:t>
                      </a:r>
                      <a:r>
                        <a:rPr lang="en-US" sz="1400" u="none" strike="noStrike">
                          <a:effectLst/>
                        </a:rPr>
                        <a:t>unknown, other, failure, succes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424415091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mp.var.rat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就业变动率（季度指标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4176666441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ons.price.idx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消费者信心指数（月度指标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298320684"/>
                  </a:ext>
                </a:extLst>
              </a:tr>
              <a:tr h="298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uribor3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effectLst/>
                        </a:rPr>
                        <a:t>欧洲银行同业拆借率 </a:t>
                      </a:r>
                      <a:r>
                        <a:rPr lang="en-US" altLang="zh-CN" sz="1400" u="none" strike="noStrike">
                          <a:effectLst/>
                        </a:rPr>
                        <a:t>3</a:t>
                      </a:r>
                      <a:r>
                        <a:rPr lang="zh-CN" altLang="en-US" sz="1400" u="none" strike="noStrike">
                          <a:effectLst/>
                        </a:rPr>
                        <a:t>个月利率（每日指标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2588945074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nr.employe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雇员人数（季度指标）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3692545208"/>
                  </a:ext>
                </a:extLst>
              </a:tr>
              <a:tr h="26760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subscrib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effectLst/>
                        </a:rPr>
                        <a:t>客户是否进行存款：</a:t>
                      </a:r>
                      <a:r>
                        <a:rPr lang="en-US" altLang="zh-CN" sz="1400" u="none" strike="noStrike" dirty="0">
                          <a:effectLst/>
                        </a:rPr>
                        <a:t>1 </a:t>
                      </a:r>
                      <a:r>
                        <a:rPr lang="zh-CN" altLang="en-US" sz="1400" u="none" strike="noStrike" dirty="0">
                          <a:effectLst/>
                        </a:rPr>
                        <a:t>或 </a:t>
                      </a:r>
                      <a:r>
                        <a:rPr lang="en-US" altLang="zh-CN" sz="1400" u="none" strike="noStrike" dirty="0">
                          <a:effectLst/>
                        </a:rPr>
                        <a:t>0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1727" marR="1727" marT="1727" marB="0" anchor="b"/>
                </a:tc>
                <a:extLst>
                  <a:ext uri="{0D108BD9-81ED-4DB2-BD59-A6C34878D82A}">
                    <a16:rowId xmlns:a16="http://schemas.microsoft.com/office/drawing/2014/main" val="189860687"/>
                  </a:ext>
                </a:extLst>
              </a:tr>
            </a:tbl>
          </a:graphicData>
        </a:graphic>
      </p:graphicFrame>
      <p:sp>
        <p:nvSpPr>
          <p:cNvPr id="7" name="文本占位符 3">
            <a:extLst>
              <a:ext uri="{FF2B5EF4-FFF2-40B4-BE49-F238E27FC236}">
                <a16:creationId xmlns:a16="http://schemas.microsoft.com/office/drawing/2014/main" id="{A8B331E6-1821-4FEF-BF2D-D2F2E04F068B}"/>
              </a:ext>
            </a:extLst>
          </p:cNvPr>
          <p:cNvSpPr txBox="1">
            <a:spLocks/>
          </p:cNvSpPr>
          <p:nvPr/>
        </p:nvSpPr>
        <p:spPr>
          <a:xfrm>
            <a:off x="10853276" y="2772821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本次活动的联系情况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8" name="文本占位符 3">
            <a:extLst>
              <a:ext uri="{FF2B5EF4-FFF2-40B4-BE49-F238E27FC236}">
                <a16:creationId xmlns:a16="http://schemas.microsoft.com/office/drawing/2014/main" id="{4D7EB000-AD76-4CFA-821E-A600C27B89C6}"/>
              </a:ext>
            </a:extLst>
          </p:cNvPr>
          <p:cNvSpPr txBox="1">
            <a:spLocks/>
          </p:cNvSpPr>
          <p:nvPr/>
        </p:nvSpPr>
        <p:spPr>
          <a:xfrm>
            <a:off x="10853276" y="4807809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市场经济特征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9" name="文本占位符 3">
            <a:extLst>
              <a:ext uri="{FF2B5EF4-FFF2-40B4-BE49-F238E27FC236}">
                <a16:creationId xmlns:a16="http://schemas.microsoft.com/office/drawing/2014/main" id="{4897E164-74BC-48A0-9315-9C8F70F5AFCA}"/>
              </a:ext>
            </a:extLst>
          </p:cNvPr>
          <p:cNvSpPr txBox="1">
            <a:spLocks/>
          </p:cNvSpPr>
          <p:nvPr/>
        </p:nvSpPr>
        <p:spPr>
          <a:xfrm>
            <a:off x="10853276" y="6154384"/>
            <a:ext cx="1377578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预测结果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088226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6100472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评测指标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 F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值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采用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F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值，可以很好的平衡精确率和召回率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精确率 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Precision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rue Positiv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在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ll predicted positives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的比例召回率 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Recall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rue Positive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在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all actual positives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的比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02F61775-64CE-4A29-B6B3-2A3C06D0D14B}"/>
              </a:ext>
            </a:extLst>
          </p:cNvPr>
          <p:cNvSpPr txBox="1">
            <a:spLocks/>
          </p:cNvSpPr>
          <p:nvPr/>
        </p:nvSpPr>
        <p:spPr>
          <a:xfrm>
            <a:off x="7156822" y="5882527"/>
            <a:ext cx="3983319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ample_submission.csv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提交预测结果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7A495CDC-C4F7-451A-98DB-0EC4D7625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5571534"/>
              </p:ext>
            </p:extLst>
          </p:nvPr>
        </p:nvGraphicFramePr>
        <p:xfrm>
          <a:off x="7237506" y="1391311"/>
          <a:ext cx="3460376" cy="4358049"/>
        </p:xfrm>
        <a:graphic>
          <a:graphicData uri="http://schemas.openxmlformats.org/drawingml/2006/table">
            <a:tbl>
              <a:tblPr/>
              <a:tblGrid>
                <a:gridCol w="1730188">
                  <a:extLst>
                    <a:ext uri="{9D8B030D-6E8A-4147-A177-3AD203B41FA5}">
                      <a16:colId xmlns:a16="http://schemas.microsoft.com/office/drawing/2014/main" val="362903828"/>
                    </a:ext>
                  </a:extLst>
                </a:gridCol>
                <a:gridCol w="1730188">
                  <a:extLst>
                    <a:ext uri="{9D8B030D-6E8A-4147-A177-3AD203B41FA5}">
                      <a16:colId xmlns:a16="http://schemas.microsoft.com/office/drawing/2014/main" val="4029608709"/>
                    </a:ext>
                  </a:extLst>
                </a:gridCol>
              </a:tblGrid>
              <a:tr h="2612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RecordI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Subscrib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599886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6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560704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525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20872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07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102781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44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337889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11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283684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92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363848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23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858108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7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569285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9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813985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2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7256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9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8817200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41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712892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37611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69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5541614"/>
                  </a:ext>
                </a:extLst>
              </a:tr>
            </a:tbl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989427B5-2C19-45BC-A2FE-E1623B4620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610" y="2135605"/>
            <a:ext cx="3843366" cy="5667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766723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39" y="1455420"/>
            <a:ext cx="6303889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ep1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数据加载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ep2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数据探索（缺失值，唯一值个数）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ep3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建模训练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ep4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针对测试集进行预测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o DO Version1</a:t>
            </a:r>
            <a:r>
              <a:rPr lang="zh-CN" altLang="en-US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8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LightGBM</a:t>
            </a:r>
            <a:endParaRPr lang="en-US" altLang="zh-CN" sz="18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tep5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特征工程 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hinking</a:t>
            </a:r>
            <a:r>
              <a:rPr lang="zh-CN" altLang="en-US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对于分类特征，怎么构造新特征对分类进行解释？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可以将分类特征与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Target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进行交叉特征，比如</a:t>
            </a: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mean, std, count 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en-US" altLang="zh-CN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=&gt; TO DO Version2</a:t>
            </a:r>
            <a:r>
              <a:rPr lang="zh-CN" altLang="en-US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18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LightGBM</a:t>
            </a:r>
            <a:r>
              <a:rPr lang="en-US" altLang="zh-CN" sz="1800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 + </a:t>
            </a:r>
            <a:r>
              <a:rPr lang="en-US" altLang="zh-CN" sz="1800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TargetEncoding</a:t>
            </a:r>
            <a:endParaRPr lang="en-US" altLang="zh-CN" sz="1800" dirty="0">
              <a:solidFill>
                <a:srgbClr val="FF0000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6" name="文本占位符 3">
            <a:extLst>
              <a:ext uri="{FF2B5EF4-FFF2-40B4-BE49-F238E27FC236}">
                <a16:creationId xmlns:a16="http://schemas.microsoft.com/office/drawing/2014/main" id="{1683543F-89D4-49F5-ADCA-A6AD8E680E99}"/>
              </a:ext>
            </a:extLst>
          </p:cNvPr>
          <p:cNvSpPr txBox="1">
            <a:spLocks/>
          </p:cNvSpPr>
          <p:nvPr/>
        </p:nvSpPr>
        <p:spPr>
          <a:xfrm>
            <a:off x="7156822" y="5882527"/>
            <a:ext cx="3983319" cy="483942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800" dirty="0">
                <a:ea typeface="宋体" panose="02010600030101010101" pitchFamily="2" charset="-122"/>
                <a:sym typeface="+mn-ea"/>
              </a:rPr>
              <a:t>sample_submission.csv</a:t>
            </a:r>
            <a:r>
              <a:rPr lang="zh-CN" altLang="en-US" sz="1800" dirty="0">
                <a:ea typeface="宋体" panose="02010600030101010101" pitchFamily="2" charset="-122"/>
                <a:sym typeface="+mn-ea"/>
              </a:rPr>
              <a:t>，提交预测结果</a:t>
            </a:r>
            <a:endParaRPr lang="en-US" altLang="zh-CN" sz="1800" dirty="0"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CDEB6180-4D3B-43F7-8754-AC81A56C3DFA}"/>
              </a:ext>
            </a:extLst>
          </p:cNvPr>
          <p:cNvGraphicFramePr>
            <a:graphicFrameLocks noGrp="1"/>
          </p:cNvGraphicFramePr>
          <p:nvPr/>
        </p:nvGraphicFramePr>
        <p:xfrm>
          <a:off x="7237506" y="1391311"/>
          <a:ext cx="3460376" cy="4358049"/>
        </p:xfrm>
        <a:graphic>
          <a:graphicData uri="http://schemas.openxmlformats.org/drawingml/2006/table">
            <a:tbl>
              <a:tblPr/>
              <a:tblGrid>
                <a:gridCol w="1730188">
                  <a:extLst>
                    <a:ext uri="{9D8B030D-6E8A-4147-A177-3AD203B41FA5}">
                      <a16:colId xmlns:a16="http://schemas.microsoft.com/office/drawing/2014/main" val="362903828"/>
                    </a:ext>
                  </a:extLst>
                </a:gridCol>
                <a:gridCol w="1730188">
                  <a:extLst>
                    <a:ext uri="{9D8B030D-6E8A-4147-A177-3AD203B41FA5}">
                      <a16:colId xmlns:a16="http://schemas.microsoft.com/office/drawing/2014/main" val="4029608709"/>
                    </a:ext>
                  </a:extLst>
                </a:gridCol>
              </a:tblGrid>
              <a:tr h="2612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RecordI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Subscribe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599886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6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560704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2525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20872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07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102781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944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337889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11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283684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92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363848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23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8581087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7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5692854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9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813985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2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7256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49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88172001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141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等线" panose="02010600030101010101" pitchFamily="2" charset="-122"/>
                          <a:ea typeface="等线" panose="02010600030101010101" pitchFamily="2" charset="-122"/>
                          <a:cs typeface="Calibri"/>
                          <a:sym typeface="Calibri" panose="020F0502020204030204"/>
                        </a:rPr>
                        <a:t>No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7128925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……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3761110"/>
                  </a:ext>
                </a:extLst>
              </a:tr>
              <a:tr h="2926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69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No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554161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14566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altLang="zh-CN" dirty="0">
                <a:ea typeface="宋体" panose="02010600030101010101" pitchFamily="2" charset="-122"/>
                <a:sym typeface="+mn-ea"/>
              </a:rPr>
              <a:t>DeepFM</a:t>
            </a:r>
            <a:r>
              <a:rPr lang="zh-CN" altLang="en-US" dirty="0">
                <a:ea typeface="宋体" panose="02010600030101010101" pitchFamily="2" charset="-122"/>
                <a:sym typeface="+mn-ea"/>
              </a:rPr>
              <a:t>算法</a:t>
            </a:r>
          </a:p>
        </p:txBody>
      </p:sp>
      <p:sp>
        <p:nvSpPr>
          <p:cNvPr id="131" name="Content Placeholder 2"/>
          <p:cNvSpPr txBox="1">
            <a:spLocks noGrp="1"/>
          </p:cNvSpPr>
          <p:nvPr/>
        </p:nvSpPr>
        <p:spPr>
          <a:xfrm>
            <a:off x="710161" y="1477357"/>
            <a:ext cx="6390640" cy="42062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 algn="just">
              <a:lnSpc>
                <a:spcPct val="150000"/>
              </a:lnSpc>
              <a:buFont typeface="Arial" panose="020B0604020202020204"/>
              <a:buNone/>
            </a:pPr>
            <a:r>
              <a:rPr lang="en-US" altLang="zh-CN" sz="1800" kern="100" dirty="0">
                <a:solidFill>
                  <a:srgbClr val="FF0000"/>
                </a:solidFill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TO DO Version3</a:t>
            </a:r>
            <a:r>
              <a:rPr lang="zh-CN" altLang="en-US" sz="1800" kern="100" dirty="0">
                <a:solidFill>
                  <a:srgbClr val="FF0000"/>
                </a:solidFill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：使用</a:t>
            </a:r>
            <a:r>
              <a:rPr lang="en-US" altLang="zh-CN" sz="1800" kern="100" dirty="0" err="1">
                <a:solidFill>
                  <a:srgbClr val="FF0000"/>
                </a:solidFill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DeepFM</a:t>
            </a:r>
            <a:endParaRPr lang="en-US" altLang="zh-CN" sz="1800" kern="100" dirty="0">
              <a:solidFill>
                <a:srgbClr val="FF0000"/>
              </a:solidFill>
              <a:ea typeface="PingFang SC" panose="020B0400000000000000" pitchFamily="34" charset="-122"/>
              <a:cs typeface="Times New Roman" panose="02020603050405020304" pitchFamily="18" charset="0"/>
              <a:sym typeface="+mn-ea"/>
            </a:endParaRPr>
          </a:p>
          <a:p>
            <a:pPr marL="0" indent="0" algn="just">
              <a:lnSpc>
                <a:spcPct val="150000"/>
              </a:lnSpc>
              <a:buFont typeface="Arial" panose="020B0604020202020204"/>
              <a:buNone/>
            </a:pPr>
            <a:r>
              <a:rPr lang="en-US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DeepFM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 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= FM + DNN</a:t>
            </a:r>
            <a:r>
              <a:rPr lang="zh-CN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：</a:t>
            </a:r>
            <a:endParaRPr lang="zh-CN" altLang="zh-CN" sz="1800" kern="100" dirty="0">
              <a:ea typeface="PingFang SC" panose="020B0400000000000000" pitchFamily="34" charset="-122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altLang="zh-CN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提取低阶</a:t>
            </a:r>
            <a:r>
              <a:rPr lang="en-US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(low order)</a:t>
            </a:r>
            <a:r>
              <a:rPr altLang="zh-CN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特征</a:t>
            </a:r>
            <a:r>
              <a:rPr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 </a:t>
            </a:r>
            <a:r>
              <a:rPr lang="en-US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=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&gt; </a:t>
            </a:r>
            <a:r>
              <a:rPr altLang="zh-CN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因子分解机</a:t>
            </a:r>
            <a:r>
              <a:rPr lang="en-US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FM</a:t>
            </a:r>
            <a:endParaRPr lang="en-US" sz="1800" kern="100" dirty="0">
              <a:ea typeface="PingFang SC" panose="020B0400000000000000" pitchFamily="34" charset="-122"/>
              <a:cs typeface="Times New Roman" panose="02020603050405020304" pitchFamily="18" charset="0"/>
              <a:sym typeface="+mn-ea"/>
            </a:endParaRPr>
          </a:p>
          <a:p>
            <a:pPr marL="0" indent="0" algn="just">
              <a:lnSpc>
                <a:spcPct val="150000"/>
              </a:lnSpc>
              <a:buFont typeface="Arial" panose="020B0604020202020204"/>
              <a:buNone/>
            </a:pPr>
            <a:r>
              <a:rPr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既可以做1阶特征建模，也可以做2阶特征建模</a:t>
            </a:r>
            <a:endParaRPr altLang="zh-CN" sz="1800" kern="100" dirty="0">
              <a:ea typeface="PingFang SC" panose="020B0400000000000000" pitchFamily="34" charset="-122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提取</a:t>
            </a:r>
            <a:r>
              <a:rPr altLang="zh-CN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高阶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(high order)</a:t>
            </a:r>
            <a:r>
              <a:rPr altLang="zh-CN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特征</a:t>
            </a:r>
            <a:r>
              <a:rPr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 </a:t>
            </a:r>
            <a:r>
              <a:rPr lang="en-US" sz="1800" kern="100" dirty="0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=&gt; </a:t>
            </a:r>
            <a:r>
              <a:rPr altLang="zh-CN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神经网络</a:t>
            </a:r>
            <a:r>
              <a:rPr lang="en-US" sz="1800" kern="100" dirty="0" err="1">
                <a:ea typeface="PingFang SC" panose="020B0400000000000000" pitchFamily="34" charset="-122"/>
                <a:cs typeface="Times New Roman" panose="02020603050405020304" pitchFamily="18" charset="0"/>
                <a:sym typeface="+mn-ea"/>
              </a:rPr>
              <a:t>DNN</a:t>
            </a:r>
            <a:endParaRPr altLang="zh-CN" sz="1800" kern="100" dirty="0">
              <a:ea typeface="PingFang SC" panose="020B0400000000000000" pitchFamily="34" charset="-122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end-to-end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，共享特征输入</a:t>
            </a:r>
            <a:endParaRPr altLang="zh-CN" sz="1800" kern="100" dirty="0">
              <a:ea typeface="PingFang SC" panose="020B0400000000000000" pitchFamily="34" charset="-122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50000"/>
              </a:lnSpc>
              <a:buFont typeface="Arial" panose="020B0604020202020204"/>
              <a:buNone/>
            </a:pP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对于特征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i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wi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是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阶特征的权重，</a:t>
            </a:r>
          </a:p>
          <a:p>
            <a:pPr marL="0" indent="0" algn="just">
              <a:lnSpc>
                <a:spcPct val="150000"/>
              </a:lnSpc>
              <a:buFont typeface="Arial" panose="020B0604020202020204"/>
              <a:buNone/>
            </a:pP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Vi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表示该特征与其他特征的交互影响，输入到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FM</a:t>
            </a:r>
            <a:r>
              <a:rPr lang="zh-CN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模型中可以获得特征的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阶特征表示，输入到</a:t>
            </a:r>
            <a:r>
              <a:rPr lang="en-US" altLang="zh-CN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DNN</a:t>
            </a:r>
            <a:r>
              <a:rPr lang="zh-CN" altLang="en-US" sz="1800" kern="100" dirty="0">
                <a:ea typeface="PingFang SC" panose="020B0400000000000000" pitchFamily="34" charset="-122"/>
                <a:cs typeface="Times New Roman" panose="02020603050405020304" pitchFamily="18" charset="0"/>
              </a:rPr>
              <a:t>模型得到高阶特征。</a:t>
            </a:r>
          </a:p>
          <a:p>
            <a:pPr algn="just">
              <a:lnSpc>
                <a:spcPct val="150000"/>
              </a:lnSpc>
            </a:pPr>
            <a:endParaRPr altLang="zh-CN" sz="1800" kern="100" dirty="0">
              <a:ea typeface="PingFang SC" panose="020B0400000000000000" pitchFamily="34" charset="-122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endParaRPr lang="zh-CN" altLang="zh-CN" sz="1800" kern="100" dirty="0">
              <a:latin typeface="PingFang SC" panose="020B0400000000000000" pitchFamily="34" charset="-122"/>
              <a:ea typeface="PingFang SC" panose="020B0400000000000000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12" name="对象 -2147482616"/>
          <p:cNvGraphicFramePr>
            <a:graphicFrameLocks noChangeAspect="1"/>
          </p:cNvGraphicFramePr>
          <p:nvPr/>
        </p:nvGraphicFramePr>
        <p:xfrm>
          <a:off x="8037830" y="5133023"/>
          <a:ext cx="3103880" cy="461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r:id="rId5" imgW="1562100" imgH="228600" progId="Equation.KSEE3">
                  <p:embed/>
                </p:oleObj>
              </mc:Choice>
              <mc:Fallback>
                <p:oleObj r:id="rId5" imgW="1562100" imgH="228600" progId="Equation.KSEE3">
                  <p:embed/>
                  <p:pic>
                    <p:nvPicPr>
                      <p:cNvPr id="12" name="对象 -2147482616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037830" y="5133023"/>
                        <a:ext cx="3103880" cy="46101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50280" y="1760855"/>
            <a:ext cx="5991225" cy="292417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algn="just"/>
            <a:r>
              <a:rPr lang="en-US" altLang="zh-CN" dirty="0">
                <a:ea typeface="宋体" panose="02010600030101010101" pitchFamily="2" charset="-122"/>
              </a:rPr>
              <a:t>Case</a:t>
            </a:r>
            <a:r>
              <a:rPr lang="zh-CN" altLang="en-US" dirty="0">
                <a:ea typeface="宋体" panose="02010600030101010101" pitchFamily="2" charset="-122"/>
              </a:rPr>
              <a:t>：银行客户认购产品预测</a:t>
            </a:r>
            <a:endParaRPr lang="zh-CN" dirty="0">
              <a:ea typeface="宋体" panose="02010600030101010101" pitchFamily="2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551340" y="1455420"/>
            <a:ext cx="5954756" cy="4940935"/>
          </a:xfrm>
        </p:spPr>
        <p:txBody>
          <a:bodyPr>
            <a:noAutofit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1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）区分分类特征，数值特征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cat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['job', 'marital', 'education', 'default', 'housing', 'loan', 'contact', 'month',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ay_of_week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,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poutcome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’]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num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['age', 'duration', 'campaign',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pday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, 'previous', 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emp.var.rate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,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cons.price.idx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,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cons.conf.idx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, 'euribor3m',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nr.employed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]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2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）转换为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eepFM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的特征表达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from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eepctr.feature_column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import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SparseFeat,DenseFeat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get_feature_names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ixlen_feature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[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SparseFeat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feature, int(df[feature].max())+1,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embedding_dim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=8) for feature in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sparse_feature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] + [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enseFeat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feat, 1, ) for feat in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ense_feature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]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linear_feature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ixlen_feature_columns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nn_feature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ixlen_feature_columns</a:t>
            </a: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eature_name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get_feature_name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linear_feature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+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nn_feature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)</a:t>
            </a:r>
          </a:p>
        </p:txBody>
      </p:sp>
      <p:sp>
        <p:nvSpPr>
          <p:cNvPr id="8" name="文本占位符 3">
            <a:extLst>
              <a:ext uri="{FF2B5EF4-FFF2-40B4-BE49-F238E27FC236}">
                <a16:creationId xmlns:a16="http://schemas.microsoft.com/office/drawing/2014/main" id="{0C6CA9A4-4F05-4666-B423-E1E67F384DEC}"/>
              </a:ext>
            </a:extLst>
          </p:cNvPr>
          <p:cNvSpPr txBox="1">
            <a:spLocks/>
          </p:cNvSpPr>
          <p:nvPr/>
        </p:nvSpPr>
        <p:spPr>
          <a:xfrm>
            <a:off x="6506095" y="1455419"/>
            <a:ext cx="5960224" cy="4940935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noAutofit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2pPr>
            <a:lvl3pPr marL="1234440" marR="0" indent="-32004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/>
              <a:buChar char="•"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 panose="020F0502020204030204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3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）将训练集、测试集转换为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eepfm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的数据格式</a:t>
            </a:r>
          </a:p>
          <a:p>
            <a:pPr marL="0" indent="0">
              <a:lnSpc>
                <a:spcPct val="100000"/>
              </a:lnSpc>
              <a:buFont typeface="Arial" panose="020B0604020202020204"/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train_model_input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{name:train2[name].values for name in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eature_name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}</a:t>
            </a:r>
          </a:p>
          <a:p>
            <a:pPr marL="0" indent="0">
              <a:lnSpc>
                <a:spcPct val="100000"/>
              </a:lnSpc>
              <a:buFont typeface="Arial" panose="020B0604020202020204"/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test_model_input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 = {name:test2[name].values for name in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feature_name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}</a:t>
            </a:r>
          </a:p>
          <a:p>
            <a:pPr marL="0" indent="0">
              <a:lnSpc>
                <a:spcPct val="100000"/>
              </a:lnSpc>
              <a:buFont typeface="Arial" panose="020B0604020202020204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4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）使用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eepFM</a:t>
            </a:r>
            <a:r>
              <a:rPr lang="zh-CN" altLang="en-US" sz="1600" dirty="0">
                <a:ea typeface="宋体" panose="02010600030101010101" pitchFamily="2" charset="-122"/>
                <a:sym typeface="+mn-ea"/>
              </a:rPr>
              <a:t>进行训练</a:t>
            </a:r>
          </a:p>
          <a:p>
            <a:pPr marL="0" indent="0">
              <a:lnSpc>
                <a:spcPct val="100000"/>
              </a:lnSpc>
              <a:buFont typeface="Arial" panose="020B0604020202020204"/>
              <a:buNone/>
            </a:pP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model =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eepFM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linear_feature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, 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dnn_feature_columns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, task='binary')</a:t>
            </a:r>
          </a:p>
          <a:p>
            <a:pPr marL="0" indent="0">
              <a:lnSpc>
                <a:spcPct val="100000"/>
              </a:lnSpc>
              <a:buFont typeface="Arial" panose="020B0604020202020204"/>
              <a:buNone/>
            </a:pP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model.compile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("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adam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", "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binary_crossentropy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", metrics=['accuracy', '</a:t>
            </a:r>
            <a:r>
              <a:rPr lang="en-US" altLang="zh-CN" sz="1600" dirty="0" err="1">
                <a:ea typeface="宋体" panose="02010600030101010101" pitchFamily="2" charset="-122"/>
                <a:sym typeface="+mn-ea"/>
              </a:rPr>
              <a:t>binary_crossentropy</a:t>
            </a:r>
            <a:r>
              <a:rPr lang="en-US" altLang="zh-CN" sz="1600" dirty="0">
                <a:ea typeface="宋体" panose="02010600030101010101" pitchFamily="2" charset="-122"/>
                <a:sym typeface="+mn-ea"/>
              </a:rPr>
              <a:t>'], )</a:t>
            </a:r>
          </a:p>
          <a:p>
            <a:pPr marL="0" indent="0">
              <a:lnSpc>
                <a:spcPct val="100000"/>
              </a:lnSpc>
              <a:buFont typeface="Arial" panose="020B0604020202020204"/>
              <a:buNone/>
            </a:pPr>
            <a:endParaRPr lang="en-US" altLang="zh-CN" sz="1600" dirty="0">
              <a:ea typeface="宋体" panose="02010600030101010101" pitchFamily="2" charset="-122"/>
              <a:sym typeface="+mn-ea"/>
            </a:endParaRPr>
          </a:p>
          <a:p>
            <a:pPr marL="0" indent="0">
              <a:lnSpc>
                <a:spcPct val="100000"/>
              </a:lnSpc>
              <a:buFont typeface="Arial" panose="020B0604020202020204"/>
              <a:buNone/>
            </a:pPr>
            <a:endParaRPr lang="en-US" altLang="zh-CN" sz="1600" dirty="0">
              <a:ea typeface="宋体" panose="02010600030101010101" pitchFamily="2" charset="-122"/>
              <a:sym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006105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5992a95-3d2c-4b4f-b9ea-68131057f424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MODEL_TYPE" val="dynamicNum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 panose="020F0502020204030204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 panose="020F0502020204030204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 panose="020F0502020204030204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 panose="020F0502020204030204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主题​​</Template>
  <TotalTime>14201</TotalTime>
  <Words>6880</Words>
  <Application>Microsoft Office PowerPoint</Application>
  <PresentationFormat>宽屏</PresentationFormat>
  <Paragraphs>1035</Paragraphs>
  <Slides>49</Slides>
  <Notes>24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9</vt:i4>
      </vt:variant>
    </vt:vector>
  </HeadingPairs>
  <TitlesOfParts>
    <vt:vector size="62" baseType="lpstr">
      <vt:lpstr>Microsoft YaHei UI</vt:lpstr>
      <vt:lpstr>PingFang SC</vt:lpstr>
      <vt:lpstr>等线</vt:lpstr>
      <vt:lpstr>宋体</vt:lpstr>
      <vt:lpstr>微软雅黑</vt:lpstr>
      <vt:lpstr>Arial</vt:lpstr>
      <vt:lpstr>Calibri</vt:lpstr>
      <vt:lpstr>Calibri Light</vt:lpstr>
      <vt:lpstr>Helvetica</vt:lpstr>
      <vt:lpstr>Times New Roman</vt:lpstr>
      <vt:lpstr>Office 主题​​</vt:lpstr>
      <vt:lpstr>Equation.KSEE3</vt:lpstr>
      <vt:lpstr>think-cell 幻灯片</vt:lpstr>
      <vt:lpstr>个贷违约预测1 Lesson 3</vt:lpstr>
      <vt:lpstr>学习方法</vt:lpstr>
      <vt:lpstr>&gt;&gt;   今天的学习目标</vt:lpstr>
      <vt:lpstr>1/2 银行客户认购产品预测</vt:lpstr>
      <vt:lpstr>Case：银行客户认购产品预测</vt:lpstr>
      <vt:lpstr>Case：银行客户认购产品预测</vt:lpstr>
      <vt:lpstr>Case：银行客户认购产品预测</vt:lpstr>
      <vt:lpstr>DeepFM算法</vt:lpstr>
      <vt:lpstr>Case：银行客户认购产品预测</vt:lpstr>
      <vt:lpstr>Case：银行客户认购产品预测</vt:lpstr>
      <vt:lpstr>Case：银行客户认购产品预测</vt:lpstr>
      <vt:lpstr>Case：银行客户认购产品预测</vt:lpstr>
      <vt:lpstr>Case：银行客户认购产品预测</vt:lpstr>
      <vt:lpstr>Case：银行客户认购产品预测</vt:lpstr>
      <vt:lpstr>在线模型部署</vt:lpstr>
      <vt:lpstr>2/2 个贷违约预测</vt:lpstr>
      <vt:lpstr>Case：个贷违约预测</vt:lpstr>
      <vt:lpstr>Case：个贷违约预测</vt:lpstr>
      <vt:lpstr>Case：个贷违约预测</vt:lpstr>
      <vt:lpstr>Case：个贷违约预测</vt:lpstr>
      <vt:lpstr>Case：个贷违约预测</vt:lpstr>
      <vt:lpstr>Case：个贷违约预测</vt:lpstr>
      <vt:lpstr>机器学习神器</vt:lpstr>
      <vt:lpstr>XGBoost</vt:lpstr>
      <vt:lpstr>LightGBM</vt:lpstr>
      <vt:lpstr>LightGBM</vt:lpstr>
      <vt:lpstr>参数对比</vt:lpstr>
      <vt:lpstr>CatBoost</vt:lpstr>
      <vt:lpstr>Baseline基线模型调优</vt:lpstr>
      <vt:lpstr>Baseline基线模型调优</vt:lpstr>
      <vt:lpstr>特征重要性查看</vt:lpstr>
      <vt:lpstr>特征重要性查看</vt:lpstr>
      <vt:lpstr>Baseline基线调优</vt:lpstr>
      <vt:lpstr>Baseline基线调优</vt:lpstr>
      <vt:lpstr>Baseline基线调优</vt:lpstr>
      <vt:lpstr>Baseline基线调优</vt:lpstr>
      <vt:lpstr>Baseline基线调优</vt:lpstr>
      <vt:lpstr>Baseline基线调优</vt:lpstr>
      <vt:lpstr>Baseline基线调优</vt:lpstr>
      <vt:lpstr>Baseline基线调优</vt:lpstr>
      <vt:lpstr>常见问题</vt:lpstr>
      <vt:lpstr>Summary</vt:lpstr>
      <vt:lpstr>Thinking &amp; Action</vt:lpstr>
      <vt:lpstr>Thinking &amp; Action</vt:lpstr>
      <vt:lpstr>Thinking &amp; Action</vt:lpstr>
      <vt:lpstr>Thinking &amp; Action</vt:lpstr>
      <vt:lpstr>Thinking &amp; Action</vt:lpstr>
      <vt:lpstr>Thank You Using data to solve problems</vt:lpstr>
      <vt:lpstr>工作中的应用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机器学习与推荐系统OverView  Lesson-01</dc:title>
  <dc:creator>Microsoft Office User</dc:creator>
  <cp:lastModifiedBy>Chen Yang</cp:lastModifiedBy>
  <cp:revision>3239</cp:revision>
  <dcterms:created xsi:type="dcterms:W3CDTF">2019-08-30T07:48:00Z</dcterms:created>
  <dcterms:modified xsi:type="dcterms:W3CDTF">2022-03-03T07:3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132</vt:lpwstr>
  </property>
</Properties>
</file>